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2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715" r:id="rId2"/>
    <p:sldMasterId id="2147483746" r:id="rId3"/>
  </p:sldMasterIdLst>
  <p:notesMasterIdLst>
    <p:notesMasterId r:id="rId9"/>
  </p:notesMasterIdLst>
  <p:sldIdLst>
    <p:sldId id="283" r:id="rId4"/>
    <p:sldId id="405" r:id="rId5"/>
    <p:sldId id="406" r:id="rId6"/>
    <p:sldId id="407" r:id="rId7"/>
    <p:sldId id="408" r:id="rId8"/>
  </p:sldIdLst>
  <p:sldSz cx="9144000" cy="5145088"/>
  <p:notesSz cx="6858000" cy="9144000"/>
  <p:custDataLst>
    <p:tags r:id="rId10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621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lexey Bocharnikov" initials="AB" lastIdx="42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4F6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883" autoAdjust="0"/>
    <p:restoredTop sz="94707" autoAdjust="0"/>
  </p:normalViewPr>
  <p:slideViewPr>
    <p:cSldViewPr snapToGrid="0" showGuides="1">
      <p:cViewPr>
        <p:scale>
          <a:sx n="61" d="100"/>
          <a:sy n="61" d="100"/>
        </p:scale>
        <p:origin x="-475" y="-19"/>
      </p:cViewPr>
      <p:guideLst>
        <p:guide orient="horz" pos="1621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4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commentAuthors" Target="commentAuthors.xml"/><Relationship Id="rId5" Type="http://schemas.openxmlformats.org/officeDocument/2006/relationships/slide" Target="slides/slide2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B8D0B1-91D9-49B3-91B6-A4517F4ADB4C}" type="datetimeFigureOut">
              <a:rPr lang="ru-RU" smtClean="0"/>
              <a:t>30.04.2019</a:t>
            </a:fld>
            <a:endParaRPr lang="ru-RU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7388" y="1143000"/>
            <a:ext cx="548322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dirty="0" smtClean="0"/>
              <a:t>Formatvorlagen des Textmasters bearbeiten</a:t>
            </a:r>
          </a:p>
          <a:p>
            <a:pPr lvl="1"/>
            <a:r>
              <a:rPr lang="ru-RU" dirty="0" smtClean="0"/>
              <a:t>Zweite Ebene</a:t>
            </a:r>
          </a:p>
          <a:p>
            <a:pPr lvl="2"/>
            <a:r>
              <a:rPr lang="ru-RU" dirty="0" smtClean="0"/>
              <a:t>Dritte Ebene</a:t>
            </a:r>
          </a:p>
          <a:p>
            <a:pPr lvl="3"/>
            <a:r>
              <a:rPr lang="ru-RU" dirty="0" smtClean="0"/>
              <a:t>Vierte Ebene</a:t>
            </a:r>
          </a:p>
          <a:p>
            <a:pPr lvl="4"/>
            <a:r>
              <a:rPr lang="ru-RU" dirty="0" smtClean="0"/>
              <a:t>Fünfte Ebene</a:t>
            </a:r>
            <a:endParaRPr lang="ru-RU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ru-RU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BB3AF9-1326-48F0-8D9C-54FC7F4F40A7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164836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BB3AF9-1326-48F0-8D9C-54FC7F4F40A7}" type="slidenum">
              <a:rPr lang="ru-RU" smtClean="0"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5401897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7388" y="1143000"/>
            <a:ext cx="548322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/>
              <a:t>Notes view: </a:t>
            </a:r>
            <a:fld id="{128CEAFE-FA94-43E5-B0FF-D47E1CCDD1B4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19768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w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8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3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65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/>
          <p:cNvSpPr/>
          <p:nvPr userDrawn="1"/>
        </p:nvSpPr>
        <p:spPr>
          <a:xfrm>
            <a:off x="0" y="0"/>
            <a:ext cx="9144000" cy="426203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 anchorCtr="0"/>
          <a:lstStyle/>
          <a:p>
            <a:pPr algn="ctr" eaLnBrk="1"/>
            <a:endParaRPr lang="ru-RU" sz="1600" dirty="0" smtClean="0"/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>
          <a:xfrm>
            <a:off x="288000" y="1276350"/>
            <a:ext cx="8570050" cy="1105303"/>
          </a:xfrm>
        </p:spPr>
        <p:txBody>
          <a:bodyPr anchor="b"/>
          <a:lstStyle>
            <a:lvl1pPr>
              <a:defRPr sz="400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ru-RU" dirty="0" smtClean="0"/>
              <a:t>MegaFon Presentation title in</a:t>
            </a:r>
            <a:br>
              <a:rPr lang="ru-RU" dirty="0" smtClean="0"/>
            </a:br>
            <a:r>
              <a:rPr lang="ru-RU" dirty="0" smtClean="0"/>
              <a:t>two lines of copy text (34pt)</a:t>
            </a:r>
            <a:endParaRPr lang="ru-RU" dirty="0"/>
          </a:p>
        </p:txBody>
      </p:sp>
      <p:sp>
        <p:nvSpPr>
          <p:cNvPr id="12" name="Textplatzhalter 2"/>
          <p:cNvSpPr>
            <a:spLocks noGrp="1"/>
          </p:cNvSpPr>
          <p:nvPr>
            <p:ph type="body" sz="quarter" idx="11" hasCustomPrompt="1"/>
          </p:nvPr>
        </p:nvSpPr>
        <p:spPr>
          <a:xfrm>
            <a:off x="288000" y="2498803"/>
            <a:ext cx="7108825" cy="224107"/>
          </a:xfrm>
        </p:spPr>
        <p:txBody>
          <a:bodyPr/>
          <a:lstStyle>
            <a:lvl1pPr>
              <a:defRPr sz="1200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  <a:lvl2pPr>
              <a:defRPr>
                <a:latin typeface="Arial Black" panose="020B0A04020102020204" pitchFamily="34" charset="0"/>
              </a:defRPr>
            </a:lvl2pPr>
            <a:lvl3pPr>
              <a:defRPr>
                <a:latin typeface="Arial Black" panose="020B0A04020102020204" pitchFamily="34" charset="0"/>
              </a:defRPr>
            </a:lvl3pPr>
            <a:lvl4pPr>
              <a:defRPr>
                <a:latin typeface="Arial Black" panose="020B0A04020102020204" pitchFamily="34" charset="0"/>
              </a:defRPr>
            </a:lvl4pPr>
            <a:lvl5pPr>
              <a:defRPr>
                <a:latin typeface="Arial Black" panose="020B0A04020102020204" pitchFamily="34" charset="0"/>
              </a:defRPr>
            </a:lvl5pPr>
          </a:lstStyle>
          <a:p>
            <a:pPr lvl="0"/>
            <a:r>
              <a:rPr lang="ru-RU" dirty="0" smtClean="0"/>
              <a:t>Presenter (12pt), City, Month 2018</a:t>
            </a: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4050" y="4535798"/>
            <a:ext cx="1854000" cy="329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31039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91600" y="252000"/>
            <a:ext cx="8564400" cy="590963"/>
          </a:xfrm>
        </p:spPr>
        <p:txBody>
          <a:bodyPr/>
          <a:lstStyle/>
          <a:p>
            <a:r>
              <a:rPr lang="ru-RU" dirty="0" smtClean="0"/>
              <a:t>Headline example (20pt), </a:t>
            </a:r>
            <a:br>
              <a:rPr lang="ru-RU" dirty="0" smtClean="0"/>
            </a:br>
            <a:r>
              <a:rPr lang="ru-RU" dirty="0" smtClean="0"/>
              <a:t>in two lines. 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B0B7E4-3F8B-4DE7-8320-EE272DE6348C}" type="datetime1">
              <a:rPr lang="ru-RU" smtClean="0"/>
              <a:t>30.04.2019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292101" y="1276350"/>
            <a:ext cx="2732088" cy="3077538"/>
          </a:xfrm>
        </p:spPr>
        <p:txBody>
          <a:bodyPr/>
          <a:lstStyle/>
          <a:p>
            <a:pPr lvl="0"/>
            <a:r>
              <a:rPr lang="ru-RU" noProof="0" dirty="0" smtClean="0"/>
              <a:t>Edit flowing text level 12pt to (16pt)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  <a:p>
            <a:pPr lvl="3"/>
            <a:r>
              <a:rPr lang="ru-RU" noProof="0" dirty="0" smtClean="0"/>
              <a:t>Fourth level</a:t>
            </a:r>
          </a:p>
          <a:p>
            <a:pPr lvl="4"/>
            <a:r>
              <a:rPr lang="ru-RU" noProof="0" dirty="0" smtClean="0"/>
              <a:t>Fifth level</a:t>
            </a:r>
            <a:endParaRPr lang="ru-RU" noProof="0" dirty="0"/>
          </a:p>
        </p:txBody>
      </p:sp>
      <p:sp>
        <p:nvSpPr>
          <p:cNvPr id="8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213101" y="1276350"/>
            <a:ext cx="2717800" cy="3077538"/>
          </a:xfrm>
        </p:spPr>
        <p:txBody>
          <a:bodyPr/>
          <a:lstStyle/>
          <a:p>
            <a:pPr lvl="0"/>
            <a:r>
              <a:rPr lang="ru-RU" noProof="0" dirty="0" smtClean="0"/>
              <a:t>Edit flowing text level 12pt to (16pt)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  <a:p>
            <a:pPr lvl="3"/>
            <a:r>
              <a:rPr lang="ru-RU" noProof="0" dirty="0" smtClean="0"/>
              <a:t>Fourth level</a:t>
            </a:r>
          </a:p>
          <a:p>
            <a:pPr lvl="4"/>
            <a:r>
              <a:rPr lang="ru-RU" noProof="0" dirty="0" smtClean="0"/>
              <a:t>Fifth level</a:t>
            </a:r>
            <a:endParaRPr lang="ru-RU" noProof="0" dirty="0"/>
          </a:p>
        </p:txBody>
      </p:sp>
      <p:sp>
        <p:nvSpPr>
          <p:cNvPr id="9" name="Inhaltsplatzhalter 6"/>
          <p:cNvSpPr>
            <a:spLocks noGrp="1"/>
          </p:cNvSpPr>
          <p:nvPr>
            <p:ph sz="quarter" idx="15" hasCustomPrompt="1"/>
          </p:nvPr>
        </p:nvSpPr>
        <p:spPr>
          <a:xfrm>
            <a:off x="6138200" y="1276350"/>
            <a:ext cx="2717800" cy="3077538"/>
          </a:xfrm>
        </p:spPr>
        <p:txBody>
          <a:bodyPr/>
          <a:lstStyle/>
          <a:p>
            <a:pPr lvl="0"/>
            <a:r>
              <a:rPr lang="ru-RU" noProof="0" dirty="0" smtClean="0"/>
              <a:t>Edit flowing text level 12pt to (16pt)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  <a:p>
            <a:pPr lvl="3"/>
            <a:r>
              <a:rPr lang="ru-RU" noProof="0" dirty="0" smtClean="0"/>
              <a:t>Fourth level</a:t>
            </a:r>
          </a:p>
          <a:p>
            <a:pPr lvl="4"/>
            <a:r>
              <a:rPr lang="ru-RU" noProof="0" dirty="0" smtClean="0"/>
              <a:t>Fifth level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1986648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- 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Headline example (20pt), </a:t>
            </a:r>
            <a:br>
              <a:rPr lang="ru-RU" dirty="0" smtClean="0"/>
            </a:br>
            <a:r>
              <a:rPr lang="ru-RU" dirty="0" smtClean="0"/>
              <a:t>in two lines. </a:t>
            </a:r>
            <a:endParaRPr lang="ru-RU" dirty="0"/>
          </a:p>
        </p:txBody>
      </p:sp>
      <p:sp>
        <p:nvSpPr>
          <p:cNvPr id="7" name="Bildplatzhalter 6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276350"/>
            <a:ext cx="9144000" cy="3868738"/>
          </a:xfrm>
        </p:spPr>
        <p:txBody>
          <a:bodyPr anchor="ctr" anchorCtr="0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196132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91600" y="252000"/>
            <a:ext cx="8564400" cy="590963"/>
          </a:xfrm>
        </p:spPr>
        <p:txBody>
          <a:bodyPr/>
          <a:lstStyle/>
          <a:p>
            <a:r>
              <a:rPr lang="ru-RU" dirty="0" smtClean="0"/>
              <a:t>Headline example (20pt), </a:t>
            </a:r>
            <a:br>
              <a:rPr lang="ru-RU" dirty="0" smtClean="0"/>
            </a:br>
            <a:r>
              <a:rPr lang="ru-RU" dirty="0" smtClean="0"/>
              <a:t>in two lines. 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99A52E-B485-4515-864C-7526FCEC2E76}" type="datetime1">
              <a:rPr lang="ru-RU" smtClean="0"/>
              <a:t>30.04.2019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291600" y="1276350"/>
            <a:ext cx="4186800" cy="307753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  <p:sp>
        <p:nvSpPr>
          <p:cNvPr id="9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4669200" y="1276350"/>
            <a:ext cx="4186800" cy="307753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199922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two pictures asymmetr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91600" y="252000"/>
            <a:ext cx="8564400" cy="590963"/>
          </a:xfrm>
        </p:spPr>
        <p:txBody>
          <a:bodyPr/>
          <a:lstStyle/>
          <a:p>
            <a:r>
              <a:rPr lang="ru-RU" dirty="0" smtClean="0"/>
              <a:t>Headline example (20pt), </a:t>
            </a:r>
            <a:br>
              <a:rPr lang="ru-RU" dirty="0" smtClean="0"/>
            </a:br>
            <a:r>
              <a:rPr lang="ru-RU" dirty="0" smtClean="0"/>
              <a:t>in two lines. 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78DB969-AD4F-415E-989A-93CCB4B6894A}" type="datetime1">
              <a:rPr lang="ru-RU" smtClean="0"/>
              <a:t>30.04.2019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291600" y="1276350"/>
            <a:ext cx="5639300" cy="307753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  <p:sp>
        <p:nvSpPr>
          <p:cNvPr id="9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6138000" y="1276350"/>
            <a:ext cx="2718000" cy="307753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821134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text left, pict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Headline example (20pt), </a:t>
            </a:r>
            <a:br>
              <a:rPr lang="ru-RU" dirty="0" smtClean="0"/>
            </a:br>
            <a:r>
              <a:rPr lang="ru-RU" dirty="0" smtClean="0"/>
              <a:t>in two lines. 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08C1A3-F62B-43BF-A565-2E59C51203AB}" type="datetime1">
              <a:rPr lang="ru-RU" smtClean="0"/>
              <a:t>30.04.2019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292100" y="1276349"/>
            <a:ext cx="4187825" cy="3076575"/>
          </a:xfrm>
        </p:spPr>
        <p:txBody>
          <a:bodyPr/>
          <a:lstStyle/>
          <a:p>
            <a:pPr lvl="0"/>
            <a:r>
              <a:rPr lang="ru-RU" noProof="0" dirty="0" smtClean="0"/>
              <a:t>Edit flowing text level 12pt to (16pt) to 32pt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  <a:p>
            <a:pPr lvl="3"/>
            <a:r>
              <a:rPr lang="ru-RU" noProof="0" dirty="0" smtClean="0"/>
              <a:t>Fourth level</a:t>
            </a:r>
          </a:p>
          <a:p>
            <a:pPr lvl="4"/>
            <a:r>
              <a:rPr lang="ru-RU" noProof="0" dirty="0" smtClean="0"/>
              <a:t>Fifth level</a:t>
            </a:r>
            <a:endParaRPr lang="ru-RU" noProof="0" dirty="0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4669200" y="1277312"/>
            <a:ext cx="4186800" cy="307657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9128504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text left, picture right asymmetr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Headline example (20pt), </a:t>
            </a:r>
            <a:br>
              <a:rPr lang="ru-RU" dirty="0" smtClean="0"/>
            </a:br>
            <a:r>
              <a:rPr lang="ru-RU" dirty="0" smtClean="0"/>
              <a:t>in two lines. 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3EEBD49-CA36-4759-849E-8C7961BE8AB3}" type="datetime1">
              <a:rPr lang="ru-RU" smtClean="0"/>
              <a:t>30.04.2019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Bildplatzhalter 7"/>
          <p:cNvSpPr>
            <a:spLocks noGrp="1"/>
          </p:cNvSpPr>
          <p:nvPr>
            <p:ph type="pic" sz="quarter" idx="15" hasCustomPrompt="1"/>
          </p:nvPr>
        </p:nvSpPr>
        <p:spPr>
          <a:xfrm>
            <a:off x="6138000" y="1276350"/>
            <a:ext cx="2718000" cy="307753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292099" y="1275387"/>
            <a:ext cx="5641200" cy="3077538"/>
          </a:xfrm>
        </p:spPr>
        <p:txBody>
          <a:bodyPr/>
          <a:lstStyle/>
          <a:p>
            <a:pPr lvl="0"/>
            <a:r>
              <a:rPr lang="ru-RU" noProof="0" dirty="0" smtClean="0"/>
              <a:t>Edit flowing text level 12pt to (16pt) to 32pt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  <a:p>
            <a:pPr lvl="3"/>
            <a:r>
              <a:rPr lang="ru-RU" noProof="0" dirty="0" smtClean="0"/>
              <a:t>Fourth level</a:t>
            </a:r>
          </a:p>
          <a:p>
            <a:pPr lvl="4"/>
            <a:r>
              <a:rPr lang="ru-RU" noProof="0" dirty="0" smtClean="0"/>
              <a:t>Fifth level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1163473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picture left, text right, asymmetr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Headline example (20pt), </a:t>
            </a:r>
            <a:br>
              <a:rPr lang="ru-RU" dirty="0" smtClean="0"/>
            </a:br>
            <a:r>
              <a:rPr lang="ru-RU" dirty="0" smtClean="0"/>
              <a:t>in two lines. 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447BA6A-FC03-4BF1-BD52-8E3246239BE0}" type="datetime1">
              <a:rPr lang="ru-RU" smtClean="0"/>
              <a:t>30.04.2019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Inhaltsplatzhalter 6"/>
          <p:cNvSpPr>
            <a:spLocks noGrp="1"/>
          </p:cNvSpPr>
          <p:nvPr>
            <p:ph sz="quarter" idx="15" hasCustomPrompt="1"/>
          </p:nvPr>
        </p:nvSpPr>
        <p:spPr>
          <a:xfrm>
            <a:off x="6138200" y="1276350"/>
            <a:ext cx="2717800" cy="3077538"/>
          </a:xfrm>
        </p:spPr>
        <p:txBody>
          <a:bodyPr/>
          <a:lstStyle/>
          <a:p>
            <a:pPr lvl="0"/>
            <a:r>
              <a:rPr lang="ru-RU" noProof="0" dirty="0" smtClean="0"/>
              <a:t>Edit flowing text level 12pt to (16pt) to 32pt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  <a:p>
            <a:pPr lvl="3"/>
            <a:r>
              <a:rPr lang="ru-RU" noProof="0" dirty="0" smtClean="0"/>
              <a:t>Fourth level</a:t>
            </a:r>
          </a:p>
          <a:p>
            <a:pPr lvl="4"/>
            <a:r>
              <a:rPr lang="ru-RU" noProof="0" dirty="0" smtClean="0"/>
              <a:t>Fifth level</a:t>
            </a:r>
            <a:endParaRPr lang="ru-RU" noProof="0" dirty="0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291600" y="1276350"/>
            <a:ext cx="5639300" cy="307753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585777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picture left, small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Headline example (20pt), </a:t>
            </a:r>
            <a:br>
              <a:rPr lang="ru-RU" dirty="0" smtClean="0"/>
            </a:br>
            <a:r>
              <a:rPr lang="ru-RU" dirty="0" smtClean="0"/>
              <a:t>in two lines. 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295BBDA-4A47-4915-92DD-ECAFA42AAC93}" type="datetime1">
              <a:rPr lang="ru-RU" smtClean="0"/>
              <a:t>30.04.2019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Inhaltsplatzhalter 6"/>
          <p:cNvSpPr>
            <a:spLocks noGrp="1"/>
          </p:cNvSpPr>
          <p:nvPr>
            <p:ph sz="quarter" idx="15" hasCustomPrompt="1"/>
          </p:nvPr>
        </p:nvSpPr>
        <p:spPr>
          <a:xfrm>
            <a:off x="7572374" y="1276350"/>
            <a:ext cx="1283625" cy="307753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ru-RU" noProof="0" dirty="0" smtClean="0"/>
              <a:t>Edit flowing text level 12pt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  <a:p>
            <a:pPr lvl="3"/>
            <a:r>
              <a:rPr lang="ru-RU" noProof="0" dirty="0" smtClean="0"/>
              <a:t>Fourth level</a:t>
            </a:r>
          </a:p>
          <a:p>
            <a:pPr lvl="4"/>
            <a:r>
              <a:rPr lang="ru-RU" noProof="0" dirty="0" smtClean="0"/>
              <a:t>Fifth level</a:t>
            </a:r>
            <a:endParaRPr lang="ru-RU" noProof="0" dirty="0"/>
          </a:p>
        </p:txBody>
      </p:sp>
      <p:sp>
        <p:nvSpPr>
          <p:cNvPr id="7" name="Bildplatzhalter 7"/>
          <p:cNvSpPr>
            <a:spLocks noGrp="1"/>
          </p:cNvSpPr>
          <p:nvPr>
            <p:ph type="pic" sz="quarter" idx="14" hasCustomPrompt="1"/>
          </p:nvPr>
        </p:nvSpPr>
        <p:spPr>
          <a:xfrm>
            <a:off x="291599" y="1276350"/>
            <a:ext cx="7109325" cy="3077538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919636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Picture above, text undernea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91600" y="252000"/>
            <a:ext cx="8564400" cy="590963"/>
          </a:xfrm>
        </p:spPr>
        <p:txBody>
          <a:bodyPr/>
          <a:lstStyle/>
          <a:p>
            <a:r>
              <a:rPr lang="ru-RU" dirty="0" smtClean="0"/>
              <a:t>Headline example (20pt), Lorem ipsum dolor sit amet, consectetur adipiscing elit ed ut perspiciatis unde omnis iste natus error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57A421-7007-4223-99AE-9E4403F2D588}" type="datetime1">
              <a:rPr lang="ru-RU" smtClean="0"/>
              <a:t>30.04.2019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292101" y="3224748"/>
            <a:ext cx="2732088" cy="1129140"/>
          </a:xfrm>
        </p:spPr>
        <p:txBody>
          <a:bodyPr/>
          <a:lstStyle/>
          <a:p>
            <a:pPr lvl="0"/>
            <a:r>
              <a:rPr lang="ru-RU" noProof="0" dirty="0" smtClean="0"/>
              <a:t>Edit flowing text level 12pt to (16pt)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</p:txBody>
      </p:sp>
      <p:sp>
        <p:nvSpPr>
          <p:cNvPr id="8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3213101" y="3224748"/>
            <a:ext cx="2717800" cy="1129140"/>
          </a:xfrm>
        </p:spPr>
        <p:txBody>
          <a:bodyPr/>
          <a:lstStyle/>
          <a:p>
            <a:pPr lvl="0"/>
            <a:r>
              <a:rPr lang="ru-RU" noProof="0" dirty="0" smtClean="0"/>
              <a:t>Edit flowing text level 12pt to (16pt)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</p:txBody>
      </p:sp>
      <p:sp>
        <p:nvSpPr>
          <p:cNvPr id="9" name="Inhaltsplatzhalter 6"/>
          <p:cNvSpPr>
            <a:spLocks noGrp="1"/>
          </p:cNvSpPr>
          <p:nvPr>
            <p:ph sz="quarter" idx="15" hasCustomPrompt="1"/>
          </p:nvPr>
        </p:nvSpPr>
        <p:spPr>
          <a:xfrm>
            <a:off x="6138200" y="3224748"/>
            <a:ext cx="2717800" cy="1129140"/>
          </a:xfrm>
        </p:spPr>
        <p:txBody>
          <a:bodyPr/>
          <a:lstStyle/>
          <a:p>
            <a:pPr lvl="0"/>
            <a:r>
              <a:rPr lang="ru-RU" noProof="0" dirty="0" smtClean="0"/>
              <a:t>Edit flowing text level 12pt to (16pt)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</p:txBody>
      </p:sp>
      <p:sp>
        <p:nvSpPr>
          <p:cNvPr id="10" name="Bildplatzhalter 7"/>
          <p:cNvSpPr>
            <a:spLocks noGrp="1"/>
          </p:cNvSpPr>
          <p:nvPr>
            <p:ph type="pic" sz="quarter" idx="16" hasCustomPrompt="1"/>
          </p:nvPr>
        </p:nvSpPr>
        <p:spPr>
          <a:xfrm>
            <a:off x="6138000" y="1276350"/>
            <a:ext cx="2718000" cy="182936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  <p:sp>
        <p:nvSpPr>
          <p:cNvPr id="11" name="Bildplatzhalter 7"/>
          <p:cNvSpPr>
            <a:spLocks noGrp="1"/>
          </p:cNvSpPr>
          <p:nvPr>
            <p:ph type="pic" sz="quarter" idx="17" hasCustomPrompt="1"/>
          </p:nvPr>
        </p:nvSpPr>
        <p:spPr>
          <a:xfrm>
            <a:off x="3212901" y="1276350"/>
            <a:ext cx="2718000" cy="182936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  <p:sp>
        <p:nvSpPr>
          <p:cNvPr id="12" name="Bildplatzhalter 7"/>
          <p:cNvSpPr>
            <a:spLocks noGrp="1"/>
          </p:cNvSpPr>
          <p:nvPr>
            <p:ph type="pic" sz="quarter" idx="18" hasCustomPrompt="1"/>
          </p:nvPr>
        </p:nvSpPr>
        <p:spPr>
          <a:xfrm>
            <a:off x="291600" y="1276350"/>
            <a:ext cx="2732400" cy="1829364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9463545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Only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91600" y="252000"/>
            <a:ext cx="8564400" cy="590963"/>
          </a:xfrm>
        </p:spPr>
        <p:txBody>
          <a:bodyPr/>
          <a:lstStyle/>
          <a:p>
            <a:r>
              <a:rPr lang="ru-RU" dirty="0" smtClean="0"/>
              <a:t>Headline example (20pt), </a:t>
            </a:r>
            <a:br>
              <a:rPr lang="ru-RU" dirty="0" smtClean="0"/>
            </a:br>
            <a:r>
              <a:rPr lang="ru-RU" dirty="0" smtClean="0"/>
              <a:t>in two lines. 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6BBCC1-0ED7-47BB-B24F-172616971772}" type="datetime1">
              <a:rPr lang="ru-RU" smtClean="0"/>
              <a:t>30.04.2019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181224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78702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Bildplatzhalter 7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-1"/>
            <a:ext cx="9144000" cy="3409503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ru-RU" dirty="0" smtClean="0"/>
              <a:t>Picture</a:t>
            </a:r>
            <a:endParaRPr lang="ru-RU" dirty="0"/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>
          <a:xfrm>
            <a:off x="287337" y="3703852"/>
            <a:ext cx="5643563" cy="680547"/>
          </a:xfrm>
        </p:spPr>
        <p:txBody>
          <a:bodyPr/>
          <a:lstStyle>
            <a:lvl1pPr>
              <a:defRPr sz="2400" b="0">
                <a:latin typeface="Arial Black" panose="020B0A04020102020204" pitchFamily="34" charset="0"/>
              </a:defRPr>
            </a:lvl1pPr>
          </a:lstStyle>
          <a:p>
            <a:r>
              <a:rPr lang="ru-RU" dirty="0" smtClean="0"/>
              <a:t>MegaFon Presentation title in</a:t>
            </a:r>
            <a:br>
              <a:rPr lang="ru-RU" dirty="0" smtClean="0"/>
            </a:br>
            <a:r>
              <a:rPr lang="ru-RU" dirty="0" smtClean="0"/>
              <a:t>two lines of copy text (24pt)</a:t>
            </a:r>
            <a:endParaRPr lang="ru-RU" dirty="0"/>
          </a:p>
        </p:txBody>
      </p:sp>
      <p:sp>
        <p:nvSpPr>
          <p:cNvPr id="10" name="Textplatzhalter 10"/>
          <p:cNvSpPr>
            <a:spLocks noGrp="1"/>
          </p:cNvSpPr>
          <p:nvPr>
            <p:ph type="body" sz="quarter" idx="12" hasCustomPrompt="1"/>
          </p:nvPr>
        </p:nvSpPr>
        <p:spPr>
          <a:xfrm>
            <a:off x="292100" y="4594048"/>
            <a:ext cx="5640426" cy="192265"/>
          </a:xfrm>
        </p:spPr>
        <p:txBody>
          <a:bodyPr anchor="b"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200">
                <a:latin typeface="+mn-lt"/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resenter (12pt), 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ity, Month 2018</a:t>
            </a:r>
          </a:p>
        </p:txBody>
      </p:sp>
      <p:pic>
        <p:nvPicPr>
          <p:cNvPr id="11" name="Grafik 1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4050" y="4535798"/>
            <a:ext cx="1854000" cy="329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37183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t's talk - final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4"/>
          <p:cNvSpPr>
            <a:spLocks noGrp="1"/>
          </p:cNvSpPr>
          <p:nvPr>
            <p:ph type="body" sz="quarter" idx="11" hasCustomPrompt="1"/>
          </p:nvPr>
        </p:nvSpPr>
        <p:spPr>
          <a:xfrm>
            <a:off x="292100" y="3895783"/>
            <a:ext cx="3794125" cy="245634"/>
          </a:xfrm>
        </p:spPr>
        <p:txBody>
          <a:bodyPr/>
          <a:lstStyle>
            <a:lvl1pPr>
              <a:spcBef>
                <a:spcPts val="0"/>
              </a:spcBef>
              <a:defRPr b="1" baseline="0"/>
            </a:lvl1pPr>
            <a:lvl5pPr marL="715962" indent="0">
              <a:buNone/>
              <a:defRPr/>
            </a:lvl5pPr>
          </a:lstStyle>
          <a:p>
            <a:pPr lvl="0"/>
            <a:r>
              <a:rPr lang="ru-RU" dirty="0" smtClean="0"/>
              <a:t>Contact Name (16pt)</a:t>
            </a:r>
          </a:p>
        </p:txBody>
      </p:sp>
      <p:sp>
        <p:nvSpPr>
          <p:cNvPr id="16" name="Textplatzhalter 14"/>
          <p:cNvSpPr>
            <a:spLocks noGrp="1"/>
          </p:cNvSpPr>
          <p:nvPr>
            <p:ph type="body" sz="quarter" idx="12" hasCustomPrompt="1"/>
          </p:nvPr>
        </p:nvSpPr>
        <p:spPr>
          <a:xfrm>
            <a:off x="292100" y="4181475"/>
            <a:ext cx="3794125" cy="223320"/>
          </a:xfrm>
        </p:spPr>
        <p:txBody>
          <a:bodyPr anchor="b"/>
          <a:lstStyle>
            <a:lvl1pPr>
              <a:spcBef>
                <a:spcPts val="0"/>
              </a:spcBef>
              <a:defRPr b="0" baseline="0"/>
            </a:lvl1pPr>
            <a:lvl5pPr marL="715962" indent="0">
              <a:buNone/>
              <a:defRPr/>
            </a:lvl5pPr>
          </a:lstStyle>
          <a:p>
            <a:pPr lvl="0"/>
            <a:r>
              <a:rPr lang="ru-RU" dirty="0" smtClean="0"/>
              <a:t>Contact Title (16pt)</a:t>
            </a:r>
          </a:p>
        </p:txBody>
      </p:sp>
      <p:sp>
        <p:nvSpPr>
          <p:cNvPr id="14" name="Textplatzhalt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265044" y="2213890"/>
            <a:ext cx="4399031" cy="444500"/>
          </a:xfrm>
        </p:spPr>
        <p:txBody>
          <a:bodyPr/>
          <a:lstStyle>
            <a:lvl1pPr>
              <a:defRPr sz="4000" b="0">
                <a:latin typeface="Arial Black" panose="020B0A04020102020204" pitchFamily="34" charset="0"/>
              </a:defRPr>
            </a:lvl1pPr>
            <a:lvl2pPr>
              <a:defRPr sz="4000" b="0">
                <a:latin typeface="Arial Black" panose="020B0A04020102020204" pitchFamily="34" charset="0"/>
              </a:defRPr>
            </a:lvl2pPr>
            <a:lvl3pPr>
              <a:defRPr sz="4000" b="0">
                <a:latin typeface="Arial Black" panose="020B0A04020102020204" pitchFamily="34" charset="0"/>
              </a:defRPr>
            </a:lvl3pPr>
            <a:lvl4pPr>
              <a:defRPr sz="4000" b="0">
                <a:latin typeface="Arial Black" panose="020B0A04020102020204" pitchFamily="34" charset="0"/>
              </a:defRPr>
            </a:lvl4pPr>
            <a:lvl5pPr>
              <a:defRPr sz="4000" b="0">
                <a:latin typeface="Arial Black" panose="020B0A04020102020204" pitchFamily="34" charset="0"/>
              </a:defRPr>
            </a:lvl5pPr>
          </a:lstStyle>
          <a:p>
            <a:pPr lvl="0"/>
            <a:r>
              <a:rPr lang="ru-RU" noProof="0" dirty="0" smtClean="0"/>
              <a:t>Let’s</a:t>
            </a:r>
            <a:r>
              <a:rPr lang="ru-RU" dirty="0" smtClean="0"/>
              <a:t> Talk</a:t>
            </a:r>
            <a:endParaRPr lang="ru-RU" dirty="0"/>
          </a:p>
        </p:txBody>
      </p:sp>
      <p:sp>
        <p:nvSpPr>
          <p:cNvPr id="6" name="Textplatzhalter 14"/>
          <p:cNvSpPr>
            <a:spLocks noGrp="1"/>
          </p:cNvSpPr>
          <p:nvPr>
            <p:ph type="body" sz="quarter" idx="15" hasCustomPrompt="1"/>
          </p:nvPr>
        </p:nvSpPr>
        <p:spPr>
          <a:xfrm>
            <a:off x="292100" y="4395086"/>
            <a:ext cx="3794125" cy="223200"/>
          </a:xfrm>
        </p:spPr>
        <p:txBody>
          <a:bodyPr anchor="b"/>
          <a:lstStyle>
            <a:lvl1pPr>
              <a:spcBef>
                <a:spcPts val="0"/>
              </a:spcBef>
              <a:defRPr b="0" baseline="0"/>
            </a:lvl1pPr>
            <a:lvl5pPr marL="715962" indent="0">
              <a:buNone/>
              <a:defRPr/>
            </a:lvl5pPr>
          </a:lstStyle>
          <a:p>
            <a:pPr lvl="0"/>
            <a:r>
              <a:rPr lang="ru-RU" dirty="0" smtClean="0"/>
              <a:t>telephone</a:t>
            </a:r>
          </a:p>
        </p:txBody>
      </p:sp>
      <p:sp>
        <p:nvSpPr>
          <p:cNvPr id="7" name="Textplatzhalt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292100" y="4608576"/>
            <a:ext cx="3794125" cy="223200"/>
          </a:xfrm>
        </p:spPr>
        <p:txBody>
          <a:bodyPr anchor="b"/>
          <a:lstStyle>
            <a:lvl1pPr>
              <a:spcBef>
                <a:spcPts val="0"/>
              </a:spcBef>
              <a:defRPr b="0" baseline="0"/>
            </a:lvl1pPr>
            <a:lvl5pPr marL="715962" indent="0">
              <a:buNone/>
              <a:defRPr/>
            </a:lvl5pPr>
          </a:lstStyle>
          <a:p>
            <a:pPr lvl="0"/>
            <a:r>
              <a:rPr lang="ru-RU" dirty="0" smtClean="0"/>
              <a:t>e-mail</a:t>
            </a: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04050" y="4535798"/>
            <a:ext cx="1854000" cy="3295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80436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58051" y="4805260"/>
            <a:ext cx="1111538" cy="115452"/>
          </a:xfrm>
          <a:prstGeom prst="rect">
            <a:avLst/>
          </a:prstGeom>
        </p:spPr>
        <p:txBody>
          <a:bodyPr/>
          <a:lstStyle>
            <a:lvl1pPr>
              <a:defRPr>
                <a:latin typeface="+mn-lt"/>
                <a:sym typeface="Trebuchet MS" panose="020B0603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pyright" hidden="1"/>
          <p:cNvSpPr txBox="1"/>
          <p:nvPr userDrawn="1"/>
        </p:nvSpPr>
        <p:spPr>
          <a:xfrm rot="16200000">
            <a:off x="7114581" y="2944524"/>
            <a:ext cx="3851670" cy="69250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en-US" sz="500" dirty="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Copyright © 2017 by The Boston Consulting Group, Inc. All rights reserved.</a:t>
            </a:r>
          </a:p>
        </p:txBody>
      </p:sp>
      <p:sp>
        <p:nvSpPr>
          <p:cNvPr id="6" name="FooterSimple" hidden="1"/>
          <p:cNvSpPr txBox="1"/>
          <p:nvPr userDrawn="1">
            <p:custDataLst>
              <p:tags r:id="rId1"/>
            </p:custDataLst>
          </p:nvPr>
        </p:nvSpPr>
        <p:spPr>
          <a:xfrm rot="16200000">
            <a:off x="7920673" y="3841341"/>
            <a:ext cx="2058035" cy="69250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>
              <a:lnSpc>
                <a:spcPct val="90000"/>
              </a:lnSpc>
              <a:spcAft>
                <a:spcPts val="450"/>
              </a:spcAft>
            </a:pPr>
            <a:r>
              <a:rPr lang="ru-RU" sz="500">
                <a:solidFill>
                  <a:schemeClr val="bg1">
                    <a:lumMod val="50000"/>
                  </a:schemeClr>
                </a:solidFill>
                <a:latin typeface="+mn-lt"/>
                <a:sym typeface="Trebuchet MS" panose="020B0603020202020204" pitchFamily="34" charset="0"/>
              </a:rPr>
              <a:t>Материалы семинара с компаниями МКС 17 января 2018.pptx</a:t>
            </a:r>
            <a:endParaRPr lang="en-US" sz="500" dirty="0">
              <a:solidFill>
                <a:schemeClr val="bg1">
                  <a:lumMod val="50000"/>
                </a:schemeClr>
              </a:solidFill>
              <a:latin typeface="+mn-lt"/>
              <a:sym typeface="Trebuchet MS" panose="020B0603020202020204" pitchFamily="34" charset="0"/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472500" y="467244"/>
            <a:ext cx="8199900" cy="360099"/>
          </a:xfrm>
          <a:prstGeom prst="rect">
            <a:avLst/>
          </a:prstGeom>
        </p:spPr>
        <p:txBody>
          <a:bodyPr vert="horz" wrap="square" lIns="0" tIns="0" rIns="0" bIns="0" anchor="t" anchorCtr="0">
            <a:sp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600" b="0" i="0" u="none" kern="1200" spc="0">
                <a:solidFill>
                  <a:schemeClr val="tx2">
                    <a:lumMod val="100000"/>
                  </a:schemeClr>
                </a:solidFill>
                <a:latin typeface="+mj-lt"/>
                <a:sym typeface="Trebuchet MS" panose="020B0603020202020204" pitchFamily="34" charset="0"/>
              </a:defRPr>
            </a:lvl1pPr>
          </a:lstStyle>
          <a:p>
            <a:pPr lvl="0"/>
            <a:r>
              <a:rPr lang="en-US" dirty="0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256457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21"/>
          <p:cNvSpPr/>
          <p:nvPr userDrawn="1"/>
        </p:nvSpPr>
        <p:spPr bwMode="auto">
          <a:xfrm>
            <a:off x="-1" y="951864"/>
            <a:ext cx="9144000" cy="2701134"/>
          </a:xfrm>
          <a:prstGeom prst="rect">
            <a:avLst/>
          </a:prstGeom>
          <a:solidFill>
            <a:srgbClr val="DEDFE0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0" cap="flat" cmpd="sng" algn="ctr">
                <a:solidFill>
                  <a:srgbClr val="7F7F7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ru-RU" sz="1350" dirty="0">
              <a:solidFill>
                <a:srgbClr val="595959"/>
              </a:solidFill>
              <a:sym typeface="PF DinDisplay Pro" panose="02000506030000020004" pitchFamily="2" charset="0"/>
            </a:endParaRPr>
          </a:p>
        </p:txBody>
      </p:sp>
      <p:sp>
        <p:nvSpPr>
          <p:cNvPr id="16" name="Овал 10"/>
          <p:cNvSpPr/>
          <p:nvPr userDrawn="1"/>
        </p:nvSpPr>
        <p:spPr>
          <a:xfrm>
            <a:off x="7310452" y="511701"/>
            <a:ext cx="1495385" cy="1215375"/>
          </a:xfrm>
          <a:prstGeom prst="ellipse">
            <a:avLst/>
          </a:prstGeom>
          <a:solidFill>
            <a:srgbClr val="00985F"/>
          </a:solidFill>
          <a:ln w="25400" cap="flat" cmpd="sng" algn="ctr">
            <a:noFill/>
            <a:prstDash val="solid"/>
          </a:ln>
          <a:effectLst/>
        </p:spPr>
        <p:txBody>
          <a:bodyPr lIns="80465" tIns="0" rIns="80465" bIns="40232" rtlCol="0" anchor="ctr"/>
          <a:lstStyle/>
          <a:p>
            <a:pPr algn="ctr" defTabSz="685800">
              <a:defRPr/>
            </a:pPr>
            <a:endParaRPr lang="ru-RU" sz="7050" kern="0" dirty="0" smtClean="0">
              <a:solidFill>
                <a:prstClr val="white"/>
              </a:solidFill>
              <a:sym typeface="PF DinDisplay Pro" panose="02000506030000020004" pitchFamily="2" charset="0"/>
            </a:endParaRPr>
          </a:p>
        </p:txBody>
      </p:sp>
      <p:grpSp>
        <p:nvGrpSpPr>
          <p:cNvPr id="17" name="Group 16"/>
          <p:cNvGrpSpPr>
            <a:grpSpLocks noChangeAspect="1"/>
          </p:cNvGrpSpPr>
          <p:nvPr userDrawn="1"/>
        </p:nvGrpSpPr>
        <p:grpSpPr>
          <a:xfrm>
            <a:off x="7497751" y="662348"/>
            <a:ext cx="1120787" cy="914081"/>
            <a:chOff x="5176838" y="2511426"/>
            <a:chExt cx="1830386" cy="1836737"/>
          </a:xfrm>
          <a:solidFill>
            <a:sysClr val="window" lastClr="FFFFFF"/>
          </a:solidFill>
        </p:grpSpPr>
        <p:sp>
          <p:nvSpPr>
            <p:cNvPr id="18" name="Freeform 6"/>
            <p:cNvSpPr>
              <a:spLocks noEditPoints="1"/>
            </p:cNvSpPr>
            <p:nvPr/>
          </p:nvSpPr>
          <p:spPr bwMode="auto">
            <a:xfrm>
              <a:off x="6008688" y="2519363"/>
              <a:ext cx="998538" cy="1828800"/>
            </a:xfrm>
            <a:custGeom>
              <a:avLst/>
              <a:gdLst>
                <a:gd name="T0" fmla="*/ 373 w 1888"/>
                <a:gd name="T1" fmla="*/ 1790 h 3457"/>
                <a:gd name="T2" fmla="*/ 372 w 1888"/>
                <a:gd name="T3" fmla="*/ 1790 h 3457"/>
                <a:gd name="T4" fmla="*/ 372 w 1888"/>
                <a:gd name="T5" fmla="*/ 1790 h 3457"/>
                <a:gd name="T6" fmla="*/ 372 w 1888"/>
                <a:gd name="T7" fmla="*/ 1790 h 3457"/>
                <a:gd name="T8" fmla="*/ 283 w 1888"/>
                <a:gd name="T9" fmla="*/ 1921 h 3457"/>
                <a:gd name="T10" fmla="*/ 15 w 1888"/>
                <a:gd name="T11" fmla="*/ 1931 h 3457"/>
                <a:gd name="T12" fmla="*/ 0 w 1888"/>
                <a:gd name="T13" fmla="*/ 1950 h 3457"/>
                <a:gd name="T14" fmla="*/ 336 w 1888"/>
                <a:gd name="T15" fmla="*/ 3447 h 3457"/>
                <a:gd name="T16" fmla="*/ 633 w 1888"/>
                <a:gd name="T17" fmla="*/ 3391 h 3457"/>
                <a:gd name="T18" fmla="*/ 910 w 1888"/>
                <a:gd name="T19" fmla="*/ 3286 h 3457"/>
                <a:gd name="T20" fmla="*/ 1161 w 1888"/>
                <a:gd name="T21" fmla="*/ 3137 h 3457"/>
                <a:gd name="T22" fmla="*/ 1382 w 1888"/>
                <a:gd name="T23" fmla="*/ 2949 h 3457"/>
                <a:gd name="T24" fmla="*/ 1570 w 1888"/>
                <a:gd name="T25" fmla="*/ 2726 h 3457"/>
                <a:gd name="T26" fmla="*/ 1719 w 1888"/>
                <a:gd name="T27" fmla="*/ 2474 h 3457"/>
                <a:gd name="T28" fmla="*/ 1822 w 1888"/>
                <a:gd name="T29" fmla="*/ 2197 h 3457"/>
                <a:gd name="T30" fmla="*/ 1880 w 1888"/>
                <a:gd name="T31" fmla="*/ 1900 h 3457"/>
                <a:gd name="T32" fmla="*/ 1884 w 1888"/>
                <a:gd name="T33" fmla="*/ 1599 h 3457"/>
                <a:gd name="T34" fmla="*/ 1842 w 1888"/>
                <a:gd name="T35" fmla="*/ 1320 h 3457"/>
                <a:gd name="T36" fmla="*/ 1758 w 1888"/>
                <a:gd name="T37" fmla="*/ 1058 h 3457"/>
                <a:gd name="T38" fmla="*/ 1635 w 1888"/>
                <a:gd name="T39" fmla="*/ 816 h 3457"/>
                <a:gd name="T40" fmla="*/ 1477 w 1888"/>
                <a:gd name="T41" fmla="*/ 598 h 3457"/>
                <a:gd name="T42" fmla="*/ 1287 w 1888"/>
                <a:gd name="T43" fmla="*/ 407 h 3457"/>
                <a:gd name="T44" fmla="*/ 1071 w 1888"/>
                <a:gd name="T45" fmla="*/ 247 h 3457"/>
                <a:gd name="T46" fmla="*/ 830 w 1888"/>
                <a:gd name="T47" fmla="*/ 122 h 3457"/>
                <a:gd name="T48" fmla="*/ 569 w 1888"/>
                <a:gd name="T49" fmla="*/ 36 h 3457"/>
                <a:gd name="T50" fmla="*/ 337 w 1888"/>
                <a:gd name="T51" fmla="*/ 2668 h 3457"/>
                <a:gd name="T52" fmla="*/ 209 w 1888"/>
                <a:gd name="T53" fmla="*/ 2625 h 3457"/>
                <a:gd name="T54" fmla="*/ 158 w 1888"/>
                <a:gd name="T55" fmla="*/ 2573 h 3457"/>
                <a:gd name="T56" fmla="*/ 123 w 1888"/>
                <a:gd name="T57" fmla="*/ 2429 h 3457"/>
                <a:gd name="T58" fmla="*/ 171 w 1888"/>
                <a:gd name="T59" fmla="*/ 2314 h 3457"/>
                <a:gd name="T60" fmla="*/ 234 w 1888"/>
                <a:gd name="T61" fmla="*/ 2260 h 3457"/>
                <a:gd name="T62" fmla="*/ 382 w 1888"/>
                <a:gd name="T63" fmla="*/ 2239 h 3457"/>
                <a:gd name="T64" fmla="*/ 484 w 1888"/>
                <a:gd name="T65" fmla="*/ 2291 h 3457"/>
                <a:gd name="T66" fmla="*/ 538 w 1888"/>
                <a:gd name="T67" fmla="*/ 2367 h 3457"/>
                <a:gd name="T68" fmla="*/ 545 w 1888"/>
                <a:gd name="T69" fmla="*/ 2516 h 3457"/>
                <a:gd name="T70" fmla="*/ 491 w 1888"/>
                <a:gd name="T71" fmla="*/ 2605 h 3457"/>
                <a:gd name="T72" fmla="*/ 402 w 1888"/>
                <a:gd name="T73" fmla="*/ 2658 h 3457"/>
                <a:gd name="T74" fmla="*/ 780 w 1888"/>
                <a:gd name="T75" fmla="*/ 2658 h 3457"/>
                <a:gd name="T76" fmla="*/ 692 w 1888"/>
                <a:gd name="T77" fmla="*/ 2605 h 3457"/>
                <a:gd name="T78" fmla="*/ 638 w 1888"/>
                <a:gd name="T79" fmla="*/ 2516 h 3457"/>
                <a:gd name="T80" fmla="*/ 646 w 1888"/>
                <a:gd name="T81" fmla="*/ 2367 h 3457"/>
                <a:gd name="T82" fmla="*/ 700 w 1888"/>
                <a:gd name="T83" fmla="*/ 2291 h 3457"/>
                <a:gd name="T84" fmla="*/ 802 w 1888"/>
                <a:gd name="T85" fmla="*/ 2239 h 3457"/>
                <a:gd name="T86" fmla="*/ 948 w 1888"/>
                <a:gd name="T87" fmla="*/ 2260 h 3457"/>
                <a:gd name="T88" fmla="*/ 1011 w 1888"/>
                <a:gd name="T89" fmla="*/ 2314 h 3457"/>
                <a:gd name="T90" fmla="*/ 1059 w 1888"/>
                <a:gd name="T91" fmla="*/ 2429 h 3457"/>
                <a:gd name="T92" fmla="*/ 1024 w 1888"/>
                <a:gd name="T93" fmla="*/ 2573 h 3457"/>
                <a:gd name="T94" fmla="*/ 973 w 1888"/>
                <a:gd name="T95" fmla="*/ 2625 h 3457"/>
                <a:gd name="T96" fmla="*/ 844 w 1888"/>
                <a:gd name="T97" fmla="*/ 2668 h 3457"/>
                <a:gd name="T98" fmla="*/ 1230 w 1888"/>
                <a:gd name="T99" fmla="*/ 2632 h 3457"/>
                <a:gd name="T100" fmla="*/ 1178 w 1888"/>
                <a:gd name="T101" fmla="*/ 2582 h 3457"/>
                <a:gd name="T102" fmla="*/ 1135 w 1888"/>
                <a:gd name="T103" fmla="*/ 2452 h 3457"/>
                <a:gd name="T104" fmla="*/ 1178 w 1888"/>
                <a:gd name="T105" fmla="*/ 2322 h 3457"/>
                <a:gd name="T106" fmla="*/ 1230 w 1888"/>
                <a:gd name="T107" fmla="*/ 2272 h 3457"/>
                <a:gd name="T108" fmla="*/ 1373 w 1888"/>
                <a:gd name="T109" fmla="*/ 2236 h 3457"/>
                <a:gd name="T110" fmla="*/ 1488 w 1888"/>
                <a:gd name="T111" fmla="*/ 2284 h 3457"/>
                <a:gd name="T112" fmla="*/ 1542 w 1888"/>
                <a:gd name="T113" fmla="*/ 2349 h 3457"/>
                <a:gd name="T114" fmla="*/ 1563 w 1888"/>
                <a:gd name="T115" fmla="*/ 2495 h 3457"/>
                <a:gd name="T116" fmla="*/ 1511 w 1888"/>
                <a:gd name="T117" fmla="*/ 2598 h 3457"/>
                <a:gd name="T118" fmla="*/ 1435 w 1888"/>
                <a:gd name="T119" fmla="*/ 2651 h 3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888" h="3457">
                  <a:moveTo>
                    <a:pt x="373" y="1790"/>
                  </a:move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0" y="1815"/>
                  </a:lnTo>
                  <a:lnTo>
                    <a:pt x="364" y="1838"/>
                  </a:lnTo>
                  <a:lnTo>
                    <a:pt x="353" y="1859"/>
                  </a:lnTo>
                  <a:lnTo>
                    <a:pt x="340" y="1878"/>
                  </a:lnTo>
                  <a:lnTo>
                    <a:pt x="323" y="1896"/>
                  </a:lnTo>
                  <a:lnTo>
                    <a:pt x="304" y="1910"/>
                  </a:lnTo>
                  <a:lnTo>
                    <a:pt x="283" y="1921"/>
                  </a:lnTo>
                  <a:lnTo>
                    <a:pt x="260" y="1927"/>
                  </a:lnTo>
                  <a:lnTo>
                    <a:pt x="241" y="1931"/>
                  </a:lnTo>
                  <a:lnTo>
                    <a:pt x="221" y="1931"/>
                  </a:lnTo>
                  <a:lnTo>
                    <a:pt x="202" y="1931"/>
                  </a:lnTo>
                  <a:lnTo>
                    <a:pt x="182" y="1931"/>
                  </a:lnTo>
                  <a:lnTo>
                    <a:pt x="19" y="1931"/>
                  </a:lnTo>
                  <a:lnTo>
                    <a:pt x="15" y="1931"/>
                  </a:lnTo>
                  <a:lnTo>
                    <a:pt x="12" y="1932"/>
                  </a:lnTo>
                  <a:lnTo>
                    <a:pt x="9" y="1934"/>
                  </a:lnTo>
                  <a:lnTo>
                    <a:pt x="5" y="1936"/>
                  </a:lnTo>
                  <a:lnTo>
                    <a:pt x="3" y="1939"/>
                  </a:lnTo>
                  <a:lnTo>
                    <a:pt x="1" y="1942"/>
                  </a:lnTo>
                  <a:lnTo>
                    <a:pt x="0" y="1945"/>
                  </a:lnTo>
                  <a:lnTo>
                    <a:pt x="0" y="1950"/>
                  </a:lnTo>
                  <a:lnTo>
                    <a:pt x="0" y="3449"/>
                  </a:lnTo>
                  <a:lnTo>
                    <a:pt x="80" y="3455"/>
                  </a:lnTo>
                  <a:lnTo>
                    <a:pt x="159" y="3457"/>
                  </a:lnTo>
                  <a:lnTo>
                    <a:pt x="205" y="3456"/>
                  </a:lnTo>
                  <a:lnTo>
                    <a:pt x="248" y="3455"/>
                  </a:lnTo>
                  <a:lnTo>
                    <a:pt x="293" y="3452"/>
                  </a:lnTo>
                  <a:lnTo>
                    <a:pt x="336" y="3447"/>
                  </a:lnTo>
                  <a:lnTo>
                    <a:pt x="380" y="3443"/>
                  </a:lnTo>
                  <a:lnTo>
                    <a:pt x="423" y="3437"/>
                  </a:lnTo>
                  <a:lnTo>
                    <a:pt x="465" y="3429"/>
                  </a:lnTo>
                  <a:lnTo>
                    <a:pt x="508" y="3422"/>
                  </a:lnTo>
                  <a:lnTo>
                    <a:pt x="550" y="3412"/>
                  </a:lnTo>
                  <a:lnTo>
                    <a:pt x="592" y="3403"/>
                  </a:lnTo>
                  <a:lnTo>
                    <a:pt x="633" y="3391"/>
                  </a:lnTo>
                  <a:lnTo>
                    <a:pt x="673" y="3379"/>
                  </a:lnTo>
                  <a:lnTo>
                    <a:pt x="715" y="3365"/>
                  </a:lnTo>
                  <a:lnTo>
                    <a:pt x="754" y="3352"/>
                  </a:lnTo>
                  <a:lnTo>
                    <a:pt x="794" y="3337"/>
                  </a:lnTo>
                  <a:lnTo>
                    <a:pt x="832" y="3321"/>
                  </a:lnTo>
                  <a:lnTo>
                    <a:pt x="872" y="3304"/>
                  </a:lnTo>
                  <a:lnTo>
                    <a:pt x="910" y="3286"/>
                  </a:lnTo>
                  <a:lnTo>
                    <a:pt x="947" y="3267"/>
                  </a:lnTo>
                  <a:lnTo>
                    <a:pt x="984" y="3247"/>
                  </a:lnTo>
                  <a:lnTo>
                    <a:pt x="1020" y="3227"/>
                  </a:lnTo>
                  <a:lnTo>
                    <a:pt x="1056" y="3206"/>
                  </a:lnTo>
                  <a:lnTo>
                    <a:pt x="1092" y="3184"/>
                  </a:lnTo>
                  <a:lnTo>
                    <a:pt x="1126" y="3160"/>
                  </a:lnTo>
                  <a:lnTo>
                    <a:pt x="1161" y="3137"/>
                  </a:lnTo>
                  <a:lnTo>
                    <a:pt x="1194" y="3112"/>
                  </a:lnTo>
                  <a:lnTo>
                    <a:pt x="1227" y="3087"/>
                  </a:lnTo>
                  <a:lnTo>
                    <a:pt x="1260" y="3060"/>
                  </a:lnTo>
                  <a:lnTo>
                    <a:pt x="1291" y="3034"/>
                  </a:lnTo>
                  <a:lnTo>
                    <a:pt x="1322" y="3006"/>
                  </a:lnTo>
                  <a:lnTo>
                    <a:pt x="1353" y="2977"/>
                  </a:lnTo>
                  <a:lnTo>
                    <a:pt x="1382" y="2949"/>
                  </a:lnTo>
                  <a:lnTo>
                    <a:pt x="1411" y="2919"/>
                  </a:lnTo>
                  <a:lnTo>
                    <a:pt x="1440" y="2889"/>
                  </a:lnTo>
                  <a:lnTo>
                    <a:pt x="1467" y="2857"/>
                  </a:lnTo>
                  <a:lnTo>
                    <a:pt x="1494" y="2825"/>
                  </a:lnTo>
                  <a:lnTo>
                    <a:pt x="1520" y="2793"/>
                  </a:lnTo>
                  <a:lnTo>
                    <a:pt x="1545" y="2760"/>
                  </a:lnTo>
                  <a:lnTo>
                    <a:pt x="1570" y="2726"/>
                  </a:lnTo>
                  <a:lnTo>
                    <a:pt x="1593" y="2692"/>
                  </a:lnTo>
                  <a:lnTo>
                    <a:pt x="1616" y="2657"/>
                  </a:lnTo>
                  <a:lnTo>
                    <a:pt x="1638" y="2622"/>
                  </a:lnTo>
                  <a:lnTo>
                    <a:pt x="1659" y="2586"/>
                  </a:lnTo>
                  <a:lnTo>
                    <a:pt x="1680" y="2549"/>
                  </a:lnTo>
                  <a:lnTo>
                    <a:pt x="1699" y="2511"/>
                  </a:lnTo>
                  <a:lnTo>
                    <a:pt x="1719" y="2474"/>
                  </a:lnTo>
                  <a:lnTo>
                    <a:pt x="1736" y="2436"/>
                  </a:lnTo>
                  <a:lnTo>
                    <a:pt x="1752" y="2398"/>
                  </a:lnTo>
                  <a:lnTo>
                    <a:pt x="1768" y="2358"/>
                  </a:lnTo>
                  <a:lnTo>
                    <a:pt x="1783" y="2319"/>
                  </a:lnTo>
                  <a:lnTo>
                    <a:pt x="1798" y="2278"/>
                  </a:lnTo>
                  <a:lnTo>
                    <a:pt x="1811" y="2238"/>
                  </a:lnTo>
                  <a:lnTo>
                    <a:pt x="1822" y="2197"/>
                  </a:lnTo>
                  <a:lnTo>
                    <a:pt x="1834" y="2155"/>
                  </a:lnTo>
                  <a:lnTo>
                    <a:pt x="1845" y="2114"/>
                  </a:lnTo>
                  <a:lnTo>
                    <a:pt x="1853" y="2072"/>
                  </a:lnTo>
                  <a:lnTo>
                    <a:pt x="1862" y="2030"/>
                  </a:lnTo>
                  <a:lnTo>
                    <a:pt x="1869" y="1986"/>
                  </a:lnTo>
                  <a:lnTo>
                    <a:pt x="1874" y="1943"/>
                  </a:lnTo>
                  <a:lnTo>
                    <a:pt x="1880" y="1900"/>
                  </a:lnTo>
                  <a:lnTo>
                    <a:pt x="1884" y="1855"/>
                  </a:lnTo>
                  <a:lnTo>
                    <a:pt x="1886" y="1811"/>
                  </a:lnTo>
                  <a:lnTo>
                    <a:pt x="1888" y="1767"/>
                  </a:lnTo>
                  <a:lnTo>
                    <a:pt x="1888" y="1722"/>
                  </a:lnTo>
                  <a:lnTo>
                    <a:pt x="1888" y="1681"/>
                  </a:lnTo>
                  <a:lnTo>
                    <a:pt x="1887" y="1639"/>
                  </a:lnTo>
                  <a:lnTo>
                    <a:pt x="1884" y="1599"/>
                  </a:lnTo>
                  <a:lnTo>
                    <a:pt x="1881" y="1558"/>
                  </a:lnTo>
                  <a:lnTo>
                    <a:pt x="1876" y="1518"/>
                  </a:lnTo>
                  <a:lnTo>
                    <a:pt x="1871" y="1477"/>
                  </a:lnTo>
                  <a:lnTo>
                    <a:pt x="1866" y="1438"/>
                  </a:lnTo>
                  <a:lnTo>
                    <a:pt x="1858" y="1398"/>
                  </a:lnTo>
                  <a:lnTo>
                    <a:pt x="1851" y="1359"/>
                  </a:lnTo>
                  <a:lnTo>
                    <a:pt x="1842" y="1320"/>
                  </a:lnTo>
                  <a:lnTo>
                    <a:pt x="1832" y="1282"/>
                  </a:lnTo>
                  <a:lnTo>
                    <a:pt x="1821" y="1243"/>
                  </a:lnTo>
                  <a:lnTo>
                    <a:pt x="1811" y="1205"/>
                  </a:lnTo>
                  <a:lnTo>
                    <a:pt x="1798" y="1168"/>
                  </a:lnTo>
                  <a:lnTo>
                    <a:pt x="1785" y="1131"/>
                  </a:lnTo>
                  <a:lnTo>
                    <a:pt x="1772" y="1095"/>
                  </a:lnTo>
                  <a:lnTo>
                    <a:pt x="1758" y="1058"/>
                  </a:lnTo>
                  <a:lnTo>
                    <a:pt x="1742" y="1022"/>
                  </a:lnTo>
                  <a:lnTo>
                    <a:pt x="1726" y="987"/>
                  </a:lnTo>
                  <a:lnTo>
                    <a:pt x="1709" y="952"/>
                  </a:lnTo>
                  <a:lnTo>
                    <a:pt x="1691" y="917"/>
                  </a:lnTo>
                  <a:lnTo>
                    <a:pt x="1673" y="883"/>
                  </a:lnTo>
                  <a:lnTo>
                    <a:pt x="1654" y="849"/>
                  </a:lnTo>
                  <a:lnTo>
                    <a:pt x="1635" y="816"/>
                  </a:lnTo>
                  <a:lnTo>
                    <a:pt x="1614" y="783"/>
                  </a:lnTo>
                  <a:lnTo>
                    <a:pt x="1592" y="751"/>
                  </a:lnTo>
                  <a:lnTo>
                    <a:pt x="1570" y="719"/>
                  </a:lnTo>
                  <a:lnTo>
                    <a:pt x="1548" y="688"/>
                  </a:lnTo>
                  <a:lnTo>
                    <a:pt x="1525" y="657"/>
                  </a:lnTo>
                  <a:lnTo>
                    <a:pt x="1501" y="628"/>
                  </a:lnTo>
                  <a:lnTo>
                    <a:pt x="1477" y="598"/>
                  </a:lnTo>
                  <a:lnTo>
                    <a:pt x="1451" y="569"/>
                  </a:lnTo>
                  <a:lnTo>
                    <a:pt x="1425" y="540"/>
                  </a:lnTo>
                  <a:lnTo>
                    <a:pt x="1398" y="513"/>
                  </a:lnTo>
                  <a:lnTo>
                    <a:pt x="1372" y="485"/>
                  </a:lnTo>
                  <a:lnTo>
                    <a:pt x="1344" y="459"/>
                  </a:lnTo>
                  <a:lnTo>
                    <a:pt x="1316" y="432"/>
                  </a:lnTo>
                  <a:lnTo>
                    <a:pt x="1287" y="407"/>
                  </a:lnTo>
                  <a:lnTo>
                    <a:pt x="1257" y="382"/>
                  </a:lnTo>
                  <a:lnTo>
                    <a:pt x="1228" y="359"/>
                  </a:lnTo>
                  <a:lnTo>
                    <a:pt x="1197" y="334"/>
                  </a:lnTo>
                  <a:lnTo>
                    <a:pt x="1166" y="312"/>
                  </a:lnTo>
                  <a:lnTo>
                    <a:pt x="1135" y="289"/>
                  </a:lnTo>
                  <a:lnTo>
                    <a:pt x="1103" y="268"/>
                  </a:lnTo>
                  <a:lnTo>
                    <a:pt x="1071" y="247"/>
                  </a:lnTo>
                  <a:lnTo>
                    <a:pt x="1038" y="228"/>
                  </a:lnTo>
                  <a:lnTo>
                    <a:pt x="1004" y="208"/>
                  </a:lnTo>
                  <a:lnTo>
                    <a:pt x="970" y="189"/>
                  </a:lnTo>
                  <a:lnTo>
                    <a:pt x="936" y="171"/>
                  </a:lnTo>
                  <a:lnTo>
                    <a:pt x="901" y="154"/>
                  </a:lnTo>
                  <a:lnTo>
                    <a:pt x="866" y="138"/>
                  </a:lnTo>
                  <a:lnTo>
                    <a:pt x="830" y="122"/>
                  </a:lnTo>
                  <a:lnTo>
                    <a:pt x="794" y="108"/>
                  </a:lnTo>
                  <a:lnTo>
                    <a:pt x="757" y="94"/>
                  </a:lnTo>
                  <a:lnTo>
                    <a:pt x="721" y="81"/>
                  </a:lnTo>
                  <a:lnTo>
                    <a:pt x="684" y="68"/>
                  </a:lnTo>
                  <a:lnTo>
                    <a:pt x="646" y="56"/>
                  </a:lnTo>
                  <a:lnTo>
                    <a:pt x="608" y="46"/>
                  </a:lnTo>
                  <a:lnTo>
                    <a:pt x="569" y="36"/>
                  </a:lnTo>
                  <a:lnTo>
                    <a:pt x="531" y="28"/>
                  </a:lnTo>
                  <a:lnTo>
                    <a:pt x="492" y="19"/>
                  </a:lnTo>
                  <a:lnTo>
                    <a:pt x="453" y="12"/>
                  </a:lnTo>
                  <a:lnTo>
                    <a:pt x="412" y="5"/>
                  </a:lnTo>
                  <a:lnTo>
                    <a:pt x="373" y="0"/>
                  </a:lnTo>
                  <a:lnTo>
                    <a:pt x="373" y="1790"/>
                  </a:lnTo>
                  <a:close/>
                  <a:moveTo>
                    <a:pt x="337" y="2668"/>
                  </a:moveTo>
                  <a:lnTo>
                    <a:pt x="316" y="2667"/>
                  </a:lnTo>
                  <a:lnTo>
                    <a:pt x="294" y="2663"/>
                  </a:lnTo>
                  <a:lnTo>
                    <a:pt x="274" y="2658"/>
                  </a:lnTo>
                  <a:lnTo>
                    <a:pt x="253" y="2651"/>
                  </a:lnTo>
                  <a:lnTo>
                    <a:pt x="234" y="2642"/>
                  </a:lnTo>
                  <a:lnTo>
                    <a:pt x="217" y="2632"/>
                  </a:lnTo>
                  <a:lnTo>
                    <a:pt x="209" y="2625"/>
                  </a:lnTo>
                  <a:lnTo>
                    <a:pt x="200" y="2619"/>
                  </a:lnTo>
                  <a:lnTo>
                    <a:pt x="192" y="2612"/>
                  </a:lnTo>
                  <a:lnTo>
                    <a:pt x="185" y="2605"/>
                  </a:lnTo>
                  <a:lnTo>
                    <a:pt x="178" y="2598"/>
                  </a:lnTo>
                  <a:lnTo>
                    <a:pt x="171" y="2589"/>
                  </a:lnTo>
                  <a:lnTo>
                    <a:pt x="164" y="2582"/>
                  </a:lnTo>
                  <a:lnTo>
                    <a:pt x="158" y="2573"/>
                  </a:lnTo>
                  <a:lnTo>
                    <a:pt x="147" y="2555"/>
                  </a:lnTo>
                  <a:lnTo>
                    <a:pt x="139" y="2536"/>
                  </a:lnTo>
                  <a:lnTo>
                    <a:pt x="132" y="2516"/>
                  </a:lnTo>
                  <a:lnTo>
                    <a:pt x="126" y="2495"/>
                  </a:lnTo>
                  <a:lnTo>
                    <a:pt x="123" y="2474"/>
                  </a:lnTo>
                  <a:lnTo>
                    <a:pt x="122" y="2452"/>
                  </a:lnTo>
                  <a:lnTo>
                    <a:pt x="123" y="2429"/>
                  </a:lnTo>
                  <a:lnTo>
                    <a:pt x="126" y="2408"/>
                  </a:lnTo>
                  <a:lnTo>
                    <a:pt x="132" y="2387"/>
                  </a:lnTo>
                  <a:lnTo>
                    <a:pt x="139" y="2367"/>
                  </a:lnTo>
                  <a:lnTo>
                    <a:pt x="147" y="2349"/>
                  </a:lnTo>
                  <a:lnTo>
                    <a:pt x="158" y="2331"/>
                  </a:lnTo>
                  <a:lnTo>
                    <a:pt x="164" y="2322"/>
                  </a:lnTo>
                  <a:lnTo>
                    <a:pt x="171" y="2314"/>
                  </a:lnTo>
                  <a:lnTo>
                    <a:pt x="178" y="2306"/>
                  </a:lnTo>
                  <a:lnTo>
                    <a:pt x="185" y="2299"/>
                  </a:lnTo>
                  <a:lnTo>
                    <a:pt x="192" y="2291"/>
                  </a:lnTo>
                  <a:lnTo>
                    <a:pt x="200" y="2284"/>
                  </a:lnTo>
                  <a:lnTo>
                    <a:pt x="209" y="2277"/>
                  </a:lnTo>
                  <a:lnTo>
                    <a:pt x="217" y="2272"/>
                  </a:lnTo>
                  <a:lnTo>
                    <a:pt x="234" y="2260"/>
                  </a:lnTo>
                  <a:lnTo>
                    <a:pt x="253" y="2252"/>
                  </a:lnTo>
                  <a:lnTo>
                    <a:pt x="274" y="2244"/>
                  </a:lnTo>
                  <a:lnTo>
                    <a:pt x="294" y="2239"/>
                  </a:lnTo>
                  <a:lnTo>
                    <a:pt x="316" y="2236"/>
                  </a:lnTo>
                  <a:lnTo>
                    <a:pt x="337" y="2235"/>
                  </a:lnTo>
                  <a:lnTo>
                    <a:pt x="359" y="2236"/>
                  </a:lnTo>
                  <a:lnTo>
                    <a:pt x="382" y="2239"/>
                  </a:lnTo>
                  <a:lnTo>
                    <a:pt x="402" y="2244"/>
                  </a:lnTo>
                  <a:lnTo>
                    <a:pt x="422" y="2252"/>
                  </a:lnTo>
                  <a:lnTo>
                    <a:pt x="441" y="2260"/>
                  </a:lnTo>
                  <a:lnTo>
                    <a:pt x="459" y="2272"/>
                  </a:lnTo>
                  <a:lnTo>
                    <a:pt x="468" y="2277"/>
                  </a:lnTo>
                  <a:lnTo>
                    <a:pt x="476" y="2284"/>
                  </a:lnTo>
                  <a:lnTo>
                    <a:pt x="484" y="2291"/>
                  </a:lnTo>
                  <a:lnTo>
                    <a:pt x="491" y="2299"/>
                  </a:lnTo>
                  <a:lnTo>
                    <a:pt x="498" y="2306"/>
                  </a:lnTo>
                  <a:lnTo>
                    <a:pt x="505" y="2314"/>
                  </a:lnTo>
                  <a:lnTo>
                    <a:pt x="511" y="2322"/>
                  </a:lnTo>
                  <a:lnTo>
                    <a:pt x="517" y="2331"/>
                  </a:lnTo>
                  <a:lnTo>
                    <a:pt x="528" y="2349"/>
                  </a:lnTo>
                  <a:lnTo>
                    <a:pt x="538" y="2367"/>
                  </a:lnTo>
                  <a:lnTo>
                    <a:pt x="545" y="2387"/>
                  </a:lnTo>
                  <a:lnTo>
                    <a:pt x="550" y="2408"/>
                  </a:lnTo>
                  <a:lnTo>
                    <a:pt x="553" y="2429"/>
                  </a:lnTo>
                  <a:lnTo>
                    <a:pt x="555" y="2452"/>
                  </a:lnTo>
                  <a:lnTo>
                    <a:pt x="553" y="2474"/>
                  </a:lnTo>
                  <a:lnTo>
                    <a:pt x="550" y="2495"/>
                  </a:lnTo>
                  <a:lnTo>
                    <a:pt x="545" y="2516"/>
                  </a:lnTo>
                  <a:lnTo>
                    <a:pt x="538" y="2536"/>
                  </a:lnTo>
                  <a:lnTo>
                    <a:pt x="528" y="2555"/>
                  </a:lnTo>
                  <a:lnTo>
                    <a:pt x="517" y="2573"/>
                  </a:lnTo>
                  <a:lnTo>
                    <a:pt x="511" y="2582"/>
                  </a:lnTo>
                  <a:lnTo>
                    <a:pt x="505" y="2589"/>
                  </a:lnTo>
                  <a:lnTo>
                    <a:pt x="498" y="2598"/>
                  </a:lnTo>
                  <a:lnTo>
                    <a:pt x="491" y="2605"/>
                  </a:lnTo>
                  <a:lnTo>
                    <a:pt x="484" y="2612"/>
                  </a:lnTo>
                  <a:lnTo>
                    <a:pt x="476" y="2619"/>
                  </a:lnTo>
                  <a:lnTo>
                    <a:pt x="468" y="2625"/>
                  </a:lnTo>
                  <a:lnTo>
                    <a:pt x="459" y="2632"/>
                  </a:lnTo>
                  <a:lnTo>
                    <a:pt x="441" y="2642"/>
                  </a:lnTo>
                  <a:lnTo>
                    <a:pt x="422" y="2651"/>
                  </a:lnTo>
                  <a:lnTo>
                    <a:pt x="402" y="2658"/>
                  </a:lnTo>
                  <a:lnTo>
                    <a:pt x="382" y="2663"/>
                  </a:lnTo>
                  <a:lnTo>
                    <a:pt x="359" y="2667"/>
                  </a:lnTo>
                  <a:lnTo>
                    <a:pt x="337" y="2668"/>
                  </a:lnTo>
                  <a:close/>
                  <a:moveTo>
                    <a:pt x="844" y="2668"/>
                  </a:moveTo>
                  <a:lnTo>
                    <a:pt x="823" y="2667"/>
                  </a:lnTo>
                  <a:lnTo>
                    <a:pt x="802" y="2663"/>
                  </a:lnTo>
                  <a:lnTo>
                    <a:pt x="780" y="2658"/>
                  </a:lnTo>
                  <a:lnTo>
                    <a:pt x="760" y="2651"/>
                  </a:lnTo>
                  <a:lnTo>
                    <a:pt x="742" y="2642"/>
                  </a:lnTo>
                  <a:lnTo>
                    <a:pt x="724" y="2632"/>
                  </a:lnTo>
                  <a:lnTo>
                    <a:pt x="716" y="2625"/>
                  </a:lnTo>
                  <a:lnTo>
                    <a:pt x="707" y="2619"/>
                  </a:lnTo>
                  <a:lnTo>
                    <a:pt x="700" y="2612"/>
                  </a:lnTo>
                  <a:lnTo>
                    <a:pt x="692" y="2605"/>
                  </a:lnTo>
                  <a:lnTo>
                    <a:pt x="685" y="2598"/>
                  </a:lnTo>
                  <a:lnTo>
                    <a:pt x="678" y="2589"/>
                  </a:lnTo>
                  <a:lnTo>
                    <a:pt x="671" y="2582"/>
                  </a:lnTo>
                  <a:lnTo>
                    <a:pt x="666" y="2573"/>
                  </a:lnTo>
                  <a:lnTo>
                    <a:pt x="654" y="2555"/>
                  </a:lnTo>
                  <a:lnTo>
                    <a:pt x="646" y="2536"/>
                  </a:lnTo>
                  <a:lnTo>
                    <a:pt x="638" y="2516"/>
                  </a:lnTo>
                  <a:lnTo>
                    <a:pt x="633" y="2495"/>
                  </a:lnTo>
                  <a:lnTo>
                    <a:pt x="630" y="2474"/>
                  </a:lnTo>
                  <a:lnTo>
                    <a:pt x="629" y="2452"/>
                  </a:lnTo>
                  <a:lnTo>
                    <a:pt x="630" y="2429"/>
                  </a:lnTo>
                  <a:lnTo>
                    <a:pt x="633" y="2408"/>
                  </a:lnTo>
                  <a:lnTo>
                    <a:pt x="638" y="2387"/>
                  </a:lnTo>
                  <a:lnTo>
                    <a:pt x="646" y="2367"/>
                  </a:lnTo>
                  <a:lnTo>
                    <a:pt x="654" y="2349"/>
                  </a:lnTo>
                  <a:lnTo>
                    <a:pt x="666" y="2331"/>
                  </a:lnTo>
                  <a:lnTo>
                    <a:pt x="671" y="2322"/>
                  </a:lnTo>
                  <a:lnTo>
                    <a:pt x="678" y="2314"/>
                  </a:lnTo>
                  <a:lnTo>
                    <a:pt x="685" y="2306"/>
                  </a:lnTo>
                  <a:lnTo>
                    <a:pt x="692" y="2299"/>
                  </a:lnTo>
                  <a:lnTo>
                    <a:pt x="700" y="2291"/>
                  </a:lnTo>
                  <a:lnTo>
                    <a:pt x="707" y="2284"/>
                  </a:lnTo>
                  <a:lnTo>
                    <a:pt x="716" y="2277"/>
                  </a:lnTo>
                  <a:lnTo>
                    <a:pt x="724" y="2272"/>
                  </a:lnTo>
                  <a:lnTo>
                    <a:pt x="742" y="2260"/>
                  </a:lnTo>
                  <a:lnTo>
                    <a:pt x="760" y="2252"/>
                  </a:lnTo>
                  <a:lnTo>
                    <a:pt x="780" y="2244"/>
                  </a:lnTo>
                  <a:lnTo>
                    <a:pt x="802" y="2239"/>
                  </a:lnTo>
                  <a:lnTo>
                    <a:pt x="823" y="2236"/>
                  </a:lnTo>
                  <a:lnTo>
                    <a:pt x="844" y="2235"/>
                  </a:lnTo>
                  <a:lnTo>
                    <a:pt x="866" y="2236"/>
                  </a:lnTo>
                  <a:lnTo>
                    <a:pt x="888" y="2239"/>
                  </a:lnTo>
                  <a:lnTo>
                    <a:pt x="909" y="2244"/>
                  </a:lnTo>
                  <a:lnTo>
                    <a:pt x="929" y="2252"/>
                  </a:lnTo>
                  <a:lnTo>
                    <a:pt x="948" y="2260"/>
                  </a:lnTo>
                  <a:lnTo>
                    <a:pt x="966" y="2272"/>
                  </a:lnTo>
                  <a:lnTo>
                    <a:pt x="973" y="2277"/>
                  </a:lnTo>
                  <a:lnTo>
                    <a:pt x="982" y="2284"/>
                  </a:lnTo>
                  <a:lnTo>
                    <a:pt x="990" y="2291"/>
                  </a:lnTo>
                  <a:lnTo>
                    <a:pt x="998" y="2299"/>
                  </a:lnTo>
                  <a:lnTo>
                    <a:pt x="1004" y="2306"/>
                  </a:lnTo>
                  <a:lnTo>
                    <a:pt x="1011" y="2314"/>
                  </a:lnTo>
                  <a:lnTo>
                    <a:pt x="1018" y="2322"/>
                  </a:lnTo>
                  <a:lnTo>
                    <a:pt x="1024" y="2331"/>
                  </a:lnTo>
                  <a:lnTo>
                    <a:pt x="1035" y="2349"/>
                  </a:lnTo>
                  <a:lnTo>
                    <a:pt x="1043" y="2367"/>
                  </a:lnTo>
                  <a:lnTo>
                    <a:pt x="1051" y="2387"/>
                  </a:lnTo>
                  <a:lnTo>
                    <a:pt x="1056" y="2408"/>
                  </a:lnTo>
                  <a:lnTo>
                    <a:pt x="1059" y="2429"/>
                  </a:lnTo>
                  <a:lnTo>
                    <a:pt x="1060" y="2452"/>
                  </a:lnTo>
                  <a:lnTo>
                    <a:pt x="1059" y="2474"/>
                  </a:lnTo>
                  <a:lnTo>
                    <a:pt x="1056" y="2495"/>
                  </a:lnTo>
                  <a:lnTo>
                    <a:pt x="1051" y="2516"/>
                  </a:lnTo>
                  <a:lnTo>
                    <a:pt x="1043" y="2536"/>
                  </a:lnTo>
                  <a:lnTo>
                    <a:pt x="1035" y="2555"/>
                  </a:lnTo>
                  <a:lnTo>
                    <a:pt x="1024" y="2573"/>
                  </a:lnTo>
                  <a:lnTo>
                    <a:pt x="1018" y="2582"/>
                  </a:lnTo>
                  <a:lnTo>
                    <a:pt x="1011" y="2589"/>
                  </a:lnTo>
                  <a:lnTo>
                    <a:pt x="1004" y="2598"/>
                  </a:lnTo>
                  <a:lnTo>
                    <a:pt x="998" y="2605"/>
                  </a:lnTo>
                  <a:lnTo>
                    <a:pt x="990" y="2612"/>
                  </a:lnTo>
                  <a:lnTo>
                    <a:pt x="982" y="2619"/>
                  </a:lnTo>
                  <a:lnTo>
                    <a:pt x="973" y="2625"/>
                  </a:lnTo>
                  <a:lnTo>
                    <a:pt x="966" y="2632"/>
                  </a:lnTo>
                  <a:lnTo>
                    <a:pt x="948" y="2642"/>
                  </a:lnTo>
                  <a:lnTo>
                    <a:pt x="929" y="2651"/>
                  </a:lnTo>
                  <a:lnTo>
                    <a:pt x="909" y="2658"/>
                  </a:lnTo>
                  <a:lnTo>
                    <a:pt x="888" y="2663"/>
                  </a:lnTo>
                  <a:lnTo>
                    <a:pt x="866" y="2667"/>
                  </a:lnTo>
                  <a:lnTo>
                    <a:pt x="844" y="2668"/>
                  </a:lnTo>
                  <a:close/>
                  <a:moveTo>
                    <a:pt x="1351" y="2668"/>
                  </a:moveTo>
                  <a:lnTo>
                    <a:pt x="1329" y="2667"/>
                  </a:lnTo>
                  <a:lnTo>
                    <a:pt x="1307" y="2663"/>
                  </a:lnTo>
                  <a:lnTo>
                    <a:pt x="1287" y="2658"/>
                  </a:lnTo>
                  <a:lnTo>
                    <a:pt x="1267" y="2651"/>
                  </a:lnTo>
                  <a:lnTo>
                    <a:pt x="1248" y="2642"/>
                  </a:lnTo>
                  <a:lnTo>
                    <a:pt x="1230" y="2632"/>
                  </a:lnTo>
                  <a:lnTo>
                    <a:pt x="1221" y="2625"/>
                  </a:lnTo>
                  <a:lnTo>
                    <a:pt x="1214" y="2619"/>
                  </a:lnTo>
                  <a:lnTo>
                    <a:pt x="1205" y="2612"/>
                  </a:lnTo>
                  <a:lnTo>
                    <a:pt x="1198" y="2605"/>
                  </a:lnTo>
                  <a:lnTo>
                    <a:pt x="1191" y="2598"/>
                  </a:lnTo>
                  <a:lnTo>
                    <a:pt x="1184" y="2589"/>
                  </a:lnTo>
                  <a:lnTo>
                    <a:pt x="1178" y="2582"/>
                  </a:lnTo>
                  <a:lnTo>
                    <a:pt x="1172" y="2573"/>
                  </a:lnTo>
                  <a:lnTo>
                    <a:pt x="1161" y="2555"/>
                  </a:lnTo>
                  <a:lnTo>
                    <a:pt x="1152" y="2536"/>
                  </a:lnTo>
                  <a:lnTo>
                    <a:pt x="1145" y="2516"/>
                  </a:lnTo>
                  <a:lnTo>
                    <a:pt x="1140" y="2495"/>
                  </a:lnTo>
                  <a:lnTo>
                    <a:pt x="1137" y="2474"/>
                  </a:lnTo>
                  <a:lnTo>
                    <a:pt x="1135" y="2452"/>
                  </a:lnTo>
                  <a:lnTo>
                    <a:pt x="1137" y="2429"/>
                  </a:lnTo>
                  <a:lnTo>
                    <a:pt x="1140" y="2408"/>
                  </a:lnTo>
                  <a:lnTo>
                    <a:pt x="1145" y="2387"/>
                  </a:lnTo>
                  <a:lnTo>
                    <a:pt x="1152" y="2367"/>
                  </a:lnTo>
                  <a:lnTo>
                    <a:pt x="1161" y="2349"/>
                  </a:lnTo>
                  <a:lnTo>
                    <a:pt x="1172" y="2331"/>
                  </a:lnTo>
                  <a:lnTo>
                    <a:pt x="1178" y="2322"/>
                  </a:lnTo>
                  <a:lnTo>
                    <a:pt x="1184" y="2314"/>
                  </a:lnTo>
                  <a:lnTo>
                    <a:pt x="1191" y="2306"/>
                  </a:lnTo>
                  <a:lnTo>
                    <a:pt x="1198" y="2299"/>
                  </a:lnTo>
                  <a:lnTo>
                    <a:pt x="1205" y="2291"/>
                  </a:lnTo>
                  <a:lnTo>
                    <a:pt x="1214" y="2284"/>
                  </a:lnTo>
                  <a:lnTo>
                    <a:pt x="1221" y="2277"/>
                  </a:lnTo>
                  <a:lnTo>
                    <a:pt x="1230" y="2272"/>
                  </a:lnTo>
                  <a:lnTo>
                    <a:pt x="1248" y="2260"/>
                  </a:lnTo>
                  <a:lnTo>
                    <a:pt x="1267" y="2252"/>
                  </a:lnTo>
                  <a:lnTo>
                    <a:pt x="1287" y="2244"/>
                  </a:lnTo>
                  <a:lnTo>
                    <a:pt x="1307" y="2239"/>
                  </a:lnTo>
                  <a:lnTo>
                    <a:pt x="1329" y="2236"/>
                  </a:lnTo>
                  <a:lnTo>
                    <a:pt x="1351" y="2235"/>
                  </a:lnTo>
                  <a:lnTo>
                    <a:pt x="1373" y="2236"/>
                  </a:lnTo>
                  <a:lnTo>
                    <a:pt x="1394" y="2239"/>
                  </a:lnTo>
                  <a:lnTo>
                    <a:pt x="1415" y="2244"/>
                  </a:lnTo>
                  <a:lnTo>
                    <a:pt x="1435" y="2252"/>
                  </a:lnTo>
                  <a:lnTo>
                    <a:pt x="1455" y="2260"/>
                  </a:lnTo>
                  <a:lnTo>
                    <a:pt x="1472" y="2272"/>
                  </a:lnTo>
                  <a:lnTo>
                    <a:pt x="1480" y="2277"/>
                  </a:lnTo>
                  <a:lnTo>
                    <a:pt x="1488" y="2284"/>
                  </a:lnTo>
                  <a:lnTo>
                    <a:pt x="1496" y="2291"/>
                  </a:lnTo>
                  <a:lnTo>
                    <a:pt x="1504" y="2299"/>
                  </a:lnTo>
                  <a:lnTo>
                    <a:pt x="1511" y="2306"/>
                  </a:lnTo>
                  <a:lnTo>
                    <a:pt x="1518" y="2314"/>
                  </a:lnTo>
                  <a:lnTo>
                    <a:pt x="1525" y="2322"/>
                  </a:lnTo>
                  <a:lnTo>
                    <a:pt x="1530" y="2331"/>
                  </a:lnTo>
                  <a:lnTo>
                    <a:pt x="1542" y="2349"/>
                  </a:lnTo>
                  <a:lnTo>
                    <a:pt x="1550" y="2367"/>
                  </a:lnTo>
                  <a:lnTo>
                    <a:pt x="1557" y="2387"/>
                  </a:lnTo>
                  <a:lnTo>
                    <a:pt x="1563" y="2408"/>
                  </a:lnTo>
                  <a:lnTo>
                    <a:pt x="1566" y="2429"/>
                  </a:lnTo>
                  <a:lnTo>
                    <a:pt x="1567" y="2452"/>
                  </a:lnTo>
                  <a:lnTo>
                    <a:pt x="1566" y="2474"/>
                  </a:lnTo>
                  <a:lnTo>
                    <a:pt x="1563" y="2495"/>
                  </a:lnTo>
                  <a:lnTo>
                    <a:pt x="1557" y="2516"/>
                  </a:lnTo>
                  <a:lnTo>
                    <a:pt x="1550" y="2536"/>
                  </a:lnTo>
                  <a:lnTo>
                    <a:pt x="1542" y="2555"/>
                  </a:lnTo>
                  <a:lnTo>
                    <a:pt x="1530" y="2573"/>
                  </a:lnTo>
                  <a:lnTo>
                    <a:pt x="1525" y="2582"/>
                  </a:lnTo>
                  <a:lnTo>
                    <a:pt x="1518" y="2589"/>
                  </a:lnTo>
                  <a:lnTo>
                    <a:pt x="1511" y="2598"/>
                  </a:lnTo>
                  <a:lnTo>
                    <a:pt x="1504" y="2605"/>
                  </a:lnTo>
                  <a:lnTo>
                    <a:pt x="1496" y="2612"/>
                  </a:lnTo>
                  <a:lnTo>
                    <a:pt x="1488" y="2619"/>
                  </a:lnTo>
                  <a:lnTo>
                    <a:pt x="1480" y="2625"/>
                  </a:lnTo>
                  <a:lnTo>
                    <a:pt x="1472" y="2632"/>
                  </a:lnTo>
                  <a:lnTo>
                    <a:pt x="1455" y="2642"/>
                  </a:lnTo>
                  <a:lnTo>
                    <a:pt x="1435" y="2651"/>
                  </a:lnTo>
                  <a:lnTo>
                    <a:pt x="1415" y="2658"/>
                  </a:lnTo>
                  <a:lnTo>
                    <a:pt x="1394" y="2663"/>
                  </a:lnTo>
                  <a:lnTo>
                    <a:pt x="1373" y="2667"/>
                  </a:lnTo>
                  <a:lnTo>
                    <a:pt x="1351" y="266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sz="1350" kern="0" dirty="0" smtClean="0">
                <a:solidFill>
                  <a:prstClr val="black"/>
                </a:solidFill>
                <a:sym typeface="PF DinDisplay Pro" panose="02000506030000020004" pitchFamily="2" charset="0"/>
              </a:endParaRPr>
            </a:p>
          </p:txBody>
        </p:sp>
        <p:sp>
          <p:nvSpPr>
            <p:cNvPr id="19" name="Freeform 7"/>
            <p:cNvSpPr>
              <a:spLocks noEditPoints="1"/>
            </p:cNvSpPr>
            <p:nvPr/>
          </p:nvSpPr>
          <p:spPr bwMode="auto">
            <a:xfrm>
              <a:off x="5176838" y="2511426"/>
              <a:ext cx="919163" cy="1816100"/>
            </a:xfrm>
            <a:custGeom>
              <a:avLst/>
              <a:gdLst>
                <a:gd name="T0" fmla="*/ 1734 w 1735"/>
                <a:gd name="T1" fmla="*/ 0 h 3431"/>
                <a:gd name="T2" fmla="*/ 1734 w 1735"/>
                <a:gd name="T3" fmla="*/ 0 h 3431"/>
                <a:gd name="T4" fmla="*/ 1733 w 1735"/>
                <a:gd name="T5" fmla="*/ 0 h 3431"/>
                <a:gd name="T6" fmla="*/ 1733 w 1735"/>
                <a:gd name="T7" fmla="*/ 0 h 3431"/>
                <a:gd name="T8" fmla="*/ 1732 w 1735"/>
                <a:gd name="T9" fmla="*/ 0 h 3431"/>
                <a:gd name="T10" fmla="*/ 1731 w 1735"/>
                <a:gd name="T11" fmla="*/ 0 h 3431"/>
                <a:gd name="T12" fmla="*/ 1730 w 1735"/>
                <a:gd name="T13" fmla="*/ 0 h 3431"/>
                <a:gd name="T14" fmla="*/ 1729 w 1735"/>
                <a:gd name="T15" fmla="*/ 0 h 3431"/>
                <a:gd name="T16" fmla="*/ 1510 w 1735"/>
                <a:gd name="T17" fmla="*/ 14 h 3431"/>
                <a:gd name="T18" fmla="*/ 1298 w 1735"/>
                <a:gd name="T19" fmla="*/ 55 h 3431"/>
                <a:gd name="T20" fmla="*/ 1095 w 1735"/>
                <a:gd name="T21" fmla="*/ 121 h 3431"/>
                <a:gd name="T22" fmla="*/ 905 w 1735"/>
                <a:gd name="T23" fmla="*/ 210 h 3431"/>
                <a:gd name="T24" fmla="*/ 728 w 1735"/>
                <a:gd name="T25" fmla="*/ 320 h 3431"/>
                <a:gd name="T26" fmla="*/ 567 w 1735"/>
                <a:gd name="T27" fmla="*/ 451 h 3431"/>
                <a:gd name="T28" fmla="*/ 422 w 1735"/>
                <a:gd name="T29" fmla="*/ 600 h 3431"/>
                <a:gd name="T30" fmla="*/ 296 w 1735"/>
                <a:gd name="T31" fmla="*/ 765 h 3431"/>
                <a:gd name="T32" fmla="*/ 190 w 1735"/>
                <a:gd name="T33" fmla="*/ 945 h 3431"/>
                <a:gd name="T34" fmla="*/ 105 w 1735"/>
                <a:gd name="T35" fmla="*/ 1138 h 3431"/>
                <a:gd name="T36" fmla="*/ 45 w 1735"/>
                <a:gd name="T37" fmla="*/ 1344 h 3431"/>
                <a:gd name="T38" fmla="*/ 10 w 1735"/>
                <a:gd name="T39" fmla="*/ 1558 h 3431"/>
                <a:gd name="T40" fmla="*/ 1 w 1735"/>
                <a:gd name="T41" fmla="*/ 1773 h 3431"/>
                <a:gd name="T42" fmla="*/ 15 w 1735"/>
                <a:gd name="T43" fmla="*/ 1965 h 3431"/>
                <a:gd name="T44" fmla="*/ 50 w 1735"/>
                <a:gd name="T45" fmla="*/ 2150 h 3431"/>
                <a:gd name="T46" fmla="*/ 104 w 1735"/>
                <a:gd name="T47" fmla="*/ 2327 h 3431"/>
                <a:gd name="T48" fmla="*/ 175 w 1735"/>
                <a:gd name="T49" fmla="*/ 2496 h 3431"/>
                <a:gd name="T50" fmla="*/ 263 w 1735"/>
                <a:gd name="T51" fmla="*/ 2655 h 3431"/>
                <a:gd name="T52" fmla="*/ 367 w 1735"/>
                <a:gd name="T53" fmla="*/ 2803 h 3431"/>
                <a:gd name="T54" fmla="*/ 486 w 1735"/>
                <a:gd name="T55" fmla="*/ 2939 h 3431"/>
                <a:gd name="T56" fmla="*/ 617 w 1735"/>
                <a:gd name="T57" fmla="*/ 3063 h 3431"/>
                <a:gd name="T58" fmla="*/ 760 w 1735"/>
                <a:gd name="T59" fmla="*/ 3172 h 3431"/>
                <a:gd name="T60" fmla="*/ 916 w 1735"/>
                <a:gd name="T61" fmla="*/ 3266 h 3431"/>
                <a:gd name="T62" fmla="*/ 1080 w 1735"/>
                <a:gd name="T63" fmla="*/ 3343 h 3431"/>
                <a:gd name="T64" fmla="*/ 1254 w 1735"/>
                <a:gd name="T65" fmla="*/ 3403 h 3431"/>
                <a:gd name="T66" fmla="*/ 1365 w 1735"/>
                <a:gd name="T67" fmla="*/ 1847 h 3431"/>
                <a:gd name="T68" fmla="*/ 1446 w 1735"/>
                <a:gd name="T69" fmla="*/ 1748 h 3431"/>
                <a:gd name="T70" fmla="*/ 1498 w 1735"/>
                <a:gd name="T71" fmla="*/ 1735 h 3431"/>
                <a:gd name="T72" fmla="*/ 1498 w 1735"/>
                <a:gd name="T73" fmla="*/ 1735 h 3431"/>
                <a:gd name="T74" fmla="*/ 1498 w 1735"/>
                <a:gd name="T75" fmla="*/ 1735 h 3431"/>
                <a:gd name="T76" fmla="*/ 1498 w 1735"/>
                <a:gd name="T77" fmla="*/ 1735 h 3431"/>
                <a:gd name="T78" fmla="*/ 1704 w 1735"/>
                <a:gd name="T79" fmla="*/ 1735 h 3431"/>
                <a:gd name="T80" fmla="*/ 1730 w 1735"/>
                <a:gd name="T81" fmla="*/ 1729 h 3431"/>
                <a:gd name="T82" fmla="*/ 1735 w 1735"/>
                <a:gd name="T83" fmla="*/ 0 h 3431"/>
                <a:gd name="T84" fmla="*/ 1314 w 1735"/>
                <a:gd name="T85" fmla="*/ 1414 h 3431"/>
                <a:gd name="T86" fmla="*/ 1253 w 1735"/>
                <a:gd name="T87" fmla="*/ 1375 h 3431"/>
                <a:gd name="T88" fmla="*/ 1219 w 1735"/>
                <a:gd name="T89" fmla="*/ 1335 h 3431"/>
                <a:gd name="T90" fmla="*/ 1183 w 1735"/>
                <a:gd name="T91" fmla="*/ 1236 h 3431"/>
                <a:gd name="T92" fmla="*/ 1199 w 1735"/>
                <a:gd name="T93" fmla="*/ 1130 h 3431"/>
                <a:gd name="T94" fmla="*/ 1238 w 1735"/>
                <a:gd name="T95" fmla="*/ 1068 h 3431"/>
                <a:gd name="T96" fmla="*/ 1277 w 1735"/>
                <a:gd name="T97" fmla="*/ 1034 h 3431"/>
                <a:gd name="T98" fmla="*/ 1376 w 1735"/>
                <a:gd name="T99" fmla="*/ 998 h 3431"/>
                <a:gd name="T100" fmla="*/ 1482 w 1735"/>
                <a:gd name="T101" fmla="*/ 1014 h 3431"/>
                <a:gd name="T102" fmla="*/ 1544 w 1735"/>
                <a:gd name="T103" fmla="*/ 1053 h 3431"/>
                <a:gd name="T104" fmla="*/ 1578 w 1735"/>
                <a:gd name="T105" fmla="*/ 1093 h 3431"/>
                <a:gd name="T106" fmla="*/ 1614 w 1735"/>
                <a:gd name="T107" fmla="*/ 1192 h 3431"/>
                <a:gd name="T108" fmla="*/ 1598 w 1735"/>
                <a:gd name="T109" fmla="*/ 1298 h 3431"/>
                <a:gd name="T110" fmla="*/ 1558 w 1735"/>
                <a:gd name="T111" fmla="*/ 1360 h 3431"/>
                <a:gd name="T112" fmla="*/ 1519 w 1735"/>
                <a:gd name="T113" fmla="*/ 1394 h 3431"/>
                <a:gd name="T114" fmla="*/ 1421 w 1735"/>
                <a:gd name="T115" fmla="*/ 1430 h 3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35" h="3431">
                  <a:moveTo>
                    <a:pt x="1735" y="0"/>
                  </a:move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2" y="0"/>
                  </a:lnTo>
                  <a:lnTo>
                    <a:pt x="1732" y="0"/>
                  </a:lnTo>
                  <a:lnTo>
                    <a:pt x="1732" y="0"/>
                  </a:lnTo>
                  <a:lnTo>
                    <a:pt x="1732" y="0"/>
                  </a:lnTo>
                  <a:lnTo>
                    <a:pt x="1732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29" y="0"/>
                  </a:lnTo>
                  <a:lnTo>
                    <a:pt x="1685" y="1"/>
                  </a:lnTo>
                  <a:lnTo>
                    <a:pt x="1641" y="2"/>
                  </a:lnTo>
                  <a:lnTo>
                    <a:pt x="1597" y="6"/>
                  </a:lnTo>
                  <a:lnTo>
                    <a:pt x="1553" y="10"/>
                  </a:lnTo>
                  <a:lnTo>
                    <a:pt x="1510" y="14"/>
                  </a:lnTo>
                  <a:lnTo>
                    <a:pt x="1466" y="21"/>
                  </a:lnTo>
                  <a:lnTo>
                    <a:pt x="1424" y="28"/>
                  </a:lnTo>
                  <a:lnTo>
                    <a:pt x="1381" y="35"/>
                  </a:lnTo>
                  <a:lnTo>
                    <a:pt x="1339" y="45"/>
                  </a:lnTo>
                  <a:lnTo>
                    <a:pt x="1298" y="55"/>
                  </a:lnTo>
                  <a:lnTo>
                    <a:pt x="1256" y="66"/>
                  </a:lnTo>
                  <a:lnTo>
                    <a:pt x="1215" y="78"/>
                  </a:lnTo>
                  <a:lnTo>
                    <a:pt x="1175" y="92"/>
                  </a:lnTo>
                  <a:lnTo>
                    <a:pt x="1135" y="106"/>
                  </a:lnTo>
                  <a:lnTo>
                    <a:pt x="1095" y="121"/>
                  </a:lnTo>
                  <a:lnTo>
                    <a:pt x="1057" y="136"/>
                  </a:lnTo>
                  <a:lnTo>
                    <a:pt x="1018" y="154"/>
                  </a:lnTo>
                  <a:lnTo>
                    <a:pt x="980" y="172"/>
                  </a:lnTo>
                  <a:lnTo>
                    <a:pt x="943" y="191"/>
                  </a:lnTo>
                  <a:lnTo>
                    <a:pt x="905" y="210"/>
                  </a:lnTo>
                  <a:lnTo>
                    <a:pt x="869" y="230"/>
                  </a:lnTo>
                  <a:lnTo>
                    <a:pt x="833" y="251"/>
                  </a:lnTo>
                  <a:lnTo>
                    <a:pt x="797" y="274"/>
                  </a:lnTo>
                  <a:lnTo>
                    <a:pt x="763" y="297"/>
                  </a:lnTo>
                  <a:lnTo>
                    <a:pt x="728" y="320"/>
                  </a:lnTo>
                  <a:lnTo>
                    <a:pt x="695" y="345"/>
                  </a:lnTo>
                  <a:lnTo>
                    <a:pt x="662" y="370"/>
                  </a:lnTo>
                  <a:lnTo>
                    <a:pt x="630" y="397"/>
                  </a:lnTo>
                  <a:lnTo>
                    <a:pt x="598" y="424"/>
                  </a:lnTo>
                  <a:lnTo>
                    <a:pt x="567" y="451"/>
                  </a:lnTo>
                  <a:lnTo>
                    <a:pt x="536" y="479"/>
                  </a:lnTo>
                  <a:lnTo>
                    <a:pt x="507" y="509"/>
                  </a:lnTo>
                  <a:lnTo>
                    <a:pt x="478" y="539"/>
                  </a:lnTo>
                  <a:lnTo>
                    <a:pt x="450" y="568"/>
                  </a:lnTo>
                  <a:lnTo>
                    <a:pt x="422" y="600"/>
                  </a:lnTo>
                  <a:lnTo>
                    <a:pt x="395" y="632"/>
                  </a:lnTo>
                  <a:lnTo>
                    <a:pt x="369" y="664"/>
                  </a:lnTo>
                  <a:lnTo>
                    <a:pt x="344" y="697"/>
                  </a:lnTo>
                  <a:lnTo>
                    <a:pt x="319" y="731"/>
                  </a:lnTo>
                  <a:lnTo>
                    <a:pt x="296" y="765"/>
                  </a:lnTo>
                  <a:lnTo>
                    <a:pt x="273" y="800"/>
                  </a:lnTo>
                  <a:lnTo>
                    <a:pt x="250" y="835"/>
                  </a:lnTo>
                  <a:lnTo>
                    <a:pt x="229" y="871"/>
                  </a:lnTo>
                  <a:lnTo>
                    <a:pt x="209" y="909"/>
                  </a:lnTo>
                  <a:lnTo>
                    <a:pt x="190" y="945"/>
                  </a:lnTo>
                  <a:lnTo>
                    <a:pt x="171" y="983"/>
                  </a:lnTo>
                  <a:lnTo>
                    <a:pt x="153" y="1021"/>
                  </a:lnTo>
                  <a:lnTo>
                    <a:pt x="136" y="1060"/>
                  </a:lnTo>
                  <a:lnTo>
                    <a:pt x="120" y="1099"/>
                  </a:lnTo>
                  <a:lnTo>
                    <a:pt x="105" y="1138"/>
                  </a:lnTo>
                  <a:lnTo>
                    <a:pt x="91" y="1179"/>
                  </a:lnTo>
                  <a:lnTo>
                    <a:pt x="79" y="1219"/>
                  </a:lnTo>
                  <a:lnTo>
                    <a:pt x="66" y="1260"/>
                  </a:lnTo>
                  <a:lnTo>
                    <a:pt x="55" y="1301"/>
                  </a:lnTo>
                  <a:lnTo>
                    <a:pt x="45" y="1344"/>
                  </a:lnTo>
                  <a:lnTo>
                    <a:pt x="35" y="1385"/>
                  </a:lnTo>
                  <a:lnTo>
                    <a:pt x="28" y="1428"/>
                  </a:lnTo>
                  <a:lnTo>
                    <a:pt x="20" y="1471"/>
                  </a:lnTo>
                  <a:lnTo>
                    <a:pt x="14" y="1514"/>
                  </a:lnTo>
                  <a:lnTo>
                    <a:pt x="10" y="1558"/>
                  </a:lnTo>
                  <a:lnTo>
                    <a:pt x="5" y="1601"/>
                  </a:lnTo>
                  <a:lnTo>
                    <a:pt x="2" y="1646"/>
                  </a:lnTo>
                  <a:lnTo>
                    <a:pt x="1" y="1690"/>
                  </a:lnTo>
                  <a:lnTo>
                    <a:pt x="0" y="1735"/>
                  </a:lnTo>
                  <a:lnTo>
                    <a:pt x="1" y="1773"/>
                  </a:lnTo>
                  <a:lnTo>
                    <a:pt x="2" y="1813"/>
                  </a:lnTo>
                  <a:lnTo>
                    <a:pt x="4" y="1851"/>
                  </a:lnTo>
                  <a:lnTo>
                    <a:pt x="7" y="1889"/>
                  </a:lnTo>
                  <a:lnTo>
                    <a:pt x="11" y="1928"/>
                  </a:lnTo>
                  <a:lnTo>
                    <a:pt x="15" y="1965"/>
                  </a:lnTo>
                  <a:lnTo>
                    <a:pt x="21" y="2002"/>
                  </a:lnTo>
                  <a:lnTo>
                    <a:pt x="27" y="2039"/>
                  </a:lnTo>
                  <a:lnTo>
                    <a:pt x="34" y="2077"/>
                  </a:lnTo>
                  <a:lnTo>
                    <a:pt x="41" y="2114"/>
                  </a:lnTo>
                  <a:lnTo>
                    <a:pt x="50" y="2150"/>
                  </a:lnTo>
                  <a:lnTo>
                    <a:pt x="59" y="2186"/>
                  </a:lnTo>
                  <a:lnTo>
                    <a:pt x="69" y="2221"/>
                  </a:lnTo>
                  <a:lnTo>
                    <a:pt x="80" y="2257"/>
                  </a:lnTo>
                  <a:lnTo>
                    <a:pt x="91" y="2292"/>
                  </a:lnTo>
                  <a:lnTo>
                    <a:pt x="104" y="2327"/>
                  </a:lnTo>
                  <a:lnTo>
                    <a:pt x="117" y="2362"/>
                  </a:lnTo>
                  <a:lnTo>
                    <a:pt x="130" y="2396"/>
                  </a:lnTo>
                  <a:lnTo>
                    <a:pt x="144" y="2430"/>
                  </a:lnTo>
                  <a:lnTo>
                    <a:pt x="159" y="2463"/>
                  </a:lnTo>
                  <a:lnTo>
                    <a:pt x="175" y="2496"/>
                  </a:lnTo>
                  <a:lnTo>
                    <a:pt x="192" y="2529"/>
                  </a:lnTo>
                  <a:lnTo>
                    <a:pt x="209" y="2561"/>
                  </a:lnTo>
                  <a:lnTo>
                    <a:pt x="226" y="2592"/>
                  </a:lnTo>
                  <a:lnTo>
                    <a:pt x="244" y="2623"/>
                  </a:lnTo>
                  <a:lnTo>
                    <a:pt x="263" y="2655"/>
                  </a:lnTo>
                  <a:lnTo>
                    <a:pt x="283" y="2685"/>
                  </a:lnTo>
                  <a:lnTo>
                    <a:pt x="303" y="2716"/>
                  </a:lnTo>
                  <a:lnTo>
                    <a:pt x="323" y="2745"/>
                  </a:lnTo>
                  <a:lnTo>
                    <a:pt x="345" y="2774"/>
                  </a:lnTo>
                  <a:lnTo>
                    <a:pt x="367" y="2803"/>
                  </a:lnTo>
                  <a:lnTo>
                    <a:pt x="389" y="2831"/>
                  </a:lnTo>
                  <a:lnTo>
                    <a:pt x="412" y="2859"/>
                  </a:lnTo>
                  <a:lnTo>
                    <a:pt x="436" y="2886"/>
                  </a:lnTo>
                  <a:lnTo>
                    <a:pt x="460" y="2913"/>
                  </a:lnTo>
                  <a:lnTo>
                    <a:pt x="486" y="2939"/>
                  </a:lnTo>
                  <a:lnTo>
                    <a:pt x="511" y="2965"/>
                  </a:lnTo>
                  <a:lnTo>
                    <a:pt x="536" y="2990"/>
                  </a:lnTo>
                  <a:lnTo>
                    <a:pt x="563" y="3015"/>
                  </a:lnTo>
                  <a:lnTo>
                    <a:pt x="589" y="3039"/>
                  </a:lnTo>
                  <a:lnTo>
                    <a:pt x="617" y="3063"/>
                  </a:lnTo>
                  <a:lnTo>
                    <a:pt x="645" y="3086"/>
                  </a:lnTo>
                  <a:lnTo>
                    <a:pt x="673" y="3108"/>
                  </a:lnTo>
                  <a:lnTo>
                    <a:pt x="702" y="3130"/>
                  </a:lnTo>
                  <a:lnTo>
                    <a:pt x="730" y="3151"/>
                  </a:lnTo>
                  <a:lnTo>
                    <a:pt x="760" y="3172"/>
                  </a:lnTo>
                  <a:lnTo>
                    <a:pt x="791" y="3191"/>
                  </a:lnTo>
                  <a:lnTo>
                    <a:pt x="822" y="3211"/>
                  </a:lnTo>
                  <a:lnTo>
                    <a:pt x="852" y="3230"/>
                  </a:lnTo>
                  <a:lnTo>
                    <a:pt x="884" y="3248"/>
                  </a:lnTo>
                  <a:lnTo>
                    <a:pt x="916" y="3266"/>
                  </a:lnTo>
                  <a:lnTo>
                    <a:pt x="948" y="3283"/>
                  </a:lnTo>
                  <a:lnTo>
                    <a:pt x="981" y="3299"/>
                  </a:lnTo>
                  <a:lnTo>
                    <a:pt x="1014" y="3314"/>
                  </a:lnTo>
                  <a:lnTo>
                    <a:pt x="1046" y="3328"/>
                  </a:lnTo>
                  <a:lnTo>
                    <a:pt x="1080" y="3343"/>
                  </a:lnTo>
                  <a:lnTo>
                    <a:pt x="1114" y="3356"/>
                  </a:lnTo>
                  <a:lnTo>
                    <a:pt x="1149" y="3369"/>
                  </a:lnTo>
                  <a:lnTo>
                    <a:pt x="1184" y="3382"/>
                  </a:lnTo>
                  <a:lnTo>
                    <a:pt x="1219" y="3392"/>
                  </a:lnTo>
                  <a:lnTo>
                    <a:pt x="1254" y="3403"/>
                  </a:lnTo>
                  <a:lnTo>
                    <a:pt x="1290" y="3412"/>
                  </a:lnTo>
                  <a:lnTo>
                    <a:pt x="1326" y="3422"/>
                  </a:lnTo>
                  <a:lnTo>
                    <a:pt x="1362" y="3431"/>
                  </a:lnTo>
                  <a:lnTo>
                    <a:pt x="1362" y="1873"/>
                  </a:lnTo>
                  <a:lnTo>
                    <a:pt x="1365" y="1847"/>
                  </a:lnTo>
                  <a:lnTo>
                    <a:pt x="1374" y="1821"/>
                  </a:lnTo>
                  <a:lnTo>
                    <a:pt x="1387" y="1798"/>
                  </a:lnTo>
                  <a:lnTo>
                    <a:pt x="1403" y="1778"/>
                  </a:lnTo>
                  <a:lnTo>
                    <a:pt x="1423" y="1761"/>
                  </a:lnTo>
                  <a:lnTo>
                    <a:pt x="1446" y="1748"/>
                  </a:lnTo>
                  <a:lnTo>
                    <a:pt x="1470" y="1739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691" y="1735"/>
                  </a:lnTo>
                  <a:lnTo>
                    <a:pt x="1697" y="1735"/>
                  </a:lnTo>
                  <a:lnTo>
                    <a:pt x="1704" y="1735"/>
                  </a:lnTo>
                  <a:lnTo>
                    <a:pt x="1711" y="1735"/>
                  </a:lnTo>
                  <a:lnTo>
                    <a:pt x="1719" y="1734"/>
                  </a:lnTo>
                  <a:lnTo>
                    <a:pt x="1723" y="1733"/>
                  </a:lnTo>
                  <a:lnTo>
                    <a:pt x="1727" y="1732"/>
                  </a:lnTo>
                  <a:lnTo>
                    <a:pt x="1730" y="1729"/>
                  </a:lnTo>
                  <a:lnTo>
                    <a:pt x="1732" y="1727"/>
                  </a:lnTo>
                  <a:lnTo>
                    <a:pt x="1733" y="1724"/>
                  </a:lnTo>
                  <a:lnTo>
                    <a:pt x="1734" y="1720"/>
                  </a:lnTo>
                  <a:lnTo>
                    <a:pt x="1734" y="1717"/>
                  </a:lnTo>
                  <a:lnTo>
                    <a:pt x="1735" y="0"/>
                  </a:lnTo>
                  <a:close/>
                  <a:moveTo>
                    <a:pt x="1398" y="1431"/>
                  </a:moveTo>
                  <a:lnTo>
                    <a:pt x="1376" y="1430"/>
                  </a:lnTo>
                  <a:lnTo>
                    <a:pt x="1355" y="1427"/>
                  </a:lnTo>
                  <a:lnTo>
                    <a:pt x="1334" y="1421"/>
                  </a:lnTo>
                  <a:lnTo>
                    <a:pt x="1314" y="1414"/>
                  </a:lnTo>
                  <a:lnTo>
                    <a:pt x="1296" y="1404"/>
                  </a:lnTo>
                  <a:lnTo>
                    <a:pt x="1277" y="1394"/>
                  </a:lnTo>
                  <a:lnTo>
                    <a:pt x="1269" y="1387"/>
                  </a:lnTo>
                  <a:lnTo>
                    <a:pt x="1261" y="1381"/>
                  </a:lnTo>
                  <a:lnTo>
                    <a:pt x="1253" y="1375"/>
                  </a:lnTo>
                  <a:lnTo>
                    <a:pt x="1246" y="1367"/>
                  </a:lnTo>
                  <a:lnTo>
                    <a:pt x="1238" y="1360"/>
                  </a:lnTo>
                  <a:lnTo>
                    <a:pt x="1231" y="1352"/>
                  </a:lnTo>
                  <a:lnTo>
                    <a:pt x="1224" y="1344"/>
                  </a:lnTo>
                  <a:lnTo>
                    <a:pt x="1219" y="1335"/>
                  </a:lnTo>
                  <a:lnTo>
                    <a:pt x="1209" y="1317"/>
                  </a:lnTo>
                  <a:lnTo>
                    <a:pt x="1199" y="1298"/>
                  </a:lnTo>
                  <a:lnTo>
                    <a:pt x="1192" y="1279"/>
                  </a:lnTo>
                  <a:lnTo>
                    <a:pt x="1186" y="1258"/>
                  </a:lnTo>
                  <a:lnTo>
                    <a:pt x="1183" y="1236"/>
                  </a:lnTo>
                  <a:lnTo>
                    <a:pt x="1182" y="1214"/>
                  </a:lnTo>
                  <a:lnTo>
                    <a:pt x="1183" y="1192"/>
                  </a:lnTo>
                  <a:lnTo>
                    <a:pt x="1186" y="1170"/>
                  </a:lnTo>
                  <a:lnTo>
                    <a:pt x="1192" y="1149"/>
                  </a:lnTo>
                  <a:lnTo>
                    <a:pt x="1199" y="1130"/>
                  </a:lnTo>
                  <a:lnTo>
                    <a:pt x="1209" y="1111"/>
                  </a:lnTo>
                  <a:lnTo>
                    <a:pt x="1219" y="1093"/>
                  </a:lnTo>
                  <a:lnTo>
                    <a:pt x="1224" y="1084"/>
                  </a:lnTo>
                  <a:lnTo>
                    <a:pt x="1231" y="1076"/>
                  </a:lnTo>
                  <a:lnTo>
                    <a:pt x="1238" y="1068"/>
                  </a:lnTo>
                  <a:lnTo>
                    <a:pt x="1246" y="1061"/>
                  </a:lnTo>
                  <a:lnTo>
                    <a:pt x="1253" y="1053"/>
                  </a:lnTo>
                  <a:lnTo>
                    <a:pt x="1261" y="1047"/>
                  </a:lnTo>
                  <a:lnTo>
                    <a:pt x="1269" y="1041"/>
                  </a:lnTo>
                  <a:lnTo>
                    <a:pt x="1277" y="1034"/>
                  </a:lnTo>
                  <a:lnTo>
                    <a:pt x="1296" y="1024"/>
                  </a:lnTo>
                  <a:lnTo>
                    <a:pt x="1314" y="1014"/>
                  </a:lnTo>
                  <a:lnTo>
                    <a:pt x="1334" y="1007"/>
                  </a:lnTo>
                  <a:lnTo>
                    <a:pt x="1355" y="1001"/>
                  </a:lnTo>
                  <a:lnTo>
                    <a:pt x="1376" y="998"/>
                  </a:lnTo>
                  <a:lnTo>
                    <a:pt x="1398" y="997"/>
                  </a:lnTo>
                  <a:lnTo>
                    <a:pt x="1421" y="998"/>
                  </a:lnTo>
                  <a:lnTo>
                    <a:pt x="1442" y="1001"/>
                  </a:lnTo>
                  <a:lnTo>
                    <a:pt x="1462" y="1007"/>
                  </a:lnTo>
                  <a:lnTo>
                    <a:pt x="1482" y="1014"/>
                  </a:lnTo>
                  <a:lnTo>
                    <a:pt x="1501" y="1024"/>
                  </a:lnTo>
                  <a:lnTo>
                    <a:pt x="1519" y="1034"/>
                  </a:lnTo>
                  <a:lnTo>
                    <a:pt x="1528" y="1041"/>
                  </a:lnTo>
                  <a:lnTo>
                    <a:pt x="1535" y="1047"/>
                  </a:lnTo>
                  <a:lnTo>
                    <a:pt x="1544" y="1053"/>
                  </a:lnTo>
                  <a:lnTo>
                    <a:pt x="1551" y="1061"/>
                  </a:lnTo>
                  <a:lnTo>
                    <a:pt x="1558" y="1068"/>
                  </a:lnTo>
                  <a:lnTo>
                    <a:pt x="1565" y="1076"/>
                  </a:lnTo>
                  <a:lnTo>
                    <a:pt x="1571" y="1084"/>
                  </a:lnTo>
                  <a:lnTo>
                    <a:pt x="1578" y="1093"/>
                  </a:lnTo>
                  <a:lnTo>
                    <a:pt x="1588" y="1111"/>
                  </a:lnTo>
                  <a:lnTo>
                    <a:pt x="1598" y="1130"/>
                  </a:lnTo>
                  <a:lnTo>
                    <a:pt x="1604" y="1149"/>
                  </a:lnTo>
                  <a:lnTo>
                    <a:pt x="1609" y="1170"/>
                  </a:lnTo>
                  <a:lnTo>
                    <a:pt x="1614" y="1192"/>
                  </a:lnTo>
                  <a:lnTo>
                    <a:pt x="1615" y="1214"/>
                  </a:lnTo>
                  <a:lnTo>
                    <a:pt x="1614" y="1236"/>
                  </a:lnTo>
                  <a:lnTo>
                    <a:pt x="1609" y="1258"/>
                  </a:lnTo>
                  <a:lnTo>
                    <a:pt x="1604" y="1279"/>
                  </a:lnTo>
                  <a:lnTo>
                    <a:pt x="1598" y="1298"/>
                  </a:lnTo>
                  <a:lnTo>
                    <a:pt x="1588" y="1317"/>
                  </a:lnTo>
                  <a:lnTo>
                    <a:pt x="1578" y="1335"/>
                  </a:lnTo>
                  <a:lnTo>
                    <a:pt x="1571" y="1344"/>
                  </a:lnTo>
                  <a:lnTo>
                    <a:pt x="1565" y="1352"/>
                  </a:lnTo>
                  <a:lnTo>
                    <a:pt x="1558" y="1360"/>
                  </a:lnTo>
                  <a:lnTo>
                    <a:pt x="1551" y="1367"/>
                  </a:lnTo>
                  <a:lnTo>
                    <a:pt x="1544" y="1375"/>
                  </a:lnTo>
                  <a:lnTo>
                    <a:pt x="1535" y="1381"/>
                  </a:lnTo>
                  <a:lnTo>
                    <a:pt x="1528" y="1387"/>
                  </a:lnTo>
                  <a:lnTo>
                    <a:pt x="1519" y="1394"/>
                  </a:lnTo>
                  <a:lnTo>
                    <a:pt x="1501" y="1404"/>
                  </a:lnTo>
                  <a:lnTo>
                    <a:pt x="1482" y="1414"/>
                  </a:lnTo>
                  <a:lnTo>
                    <a:pt x="1462" y="1421"/>
                  </a:lnTo>
                  <a:lnTo>
                    <a:pt x="1442" y="1427"/>
                  </a:lnTo>
                  <a:lnTo>
                    <a:pt x="1421" y="1430"/>
                  </a:lnTo>
                  <a:lnTo>
                    <a:pt x="1398" y="143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>
                <a:defRPr/>
              </a:pPr>
              <a:endParaRPr lang="ru-RU" sz="1350" kern="0" dirty="0" smtClean="0">
                <a:solidFill>
                  <a:prstClr val="black"/>
                </a:solidFill>
                <a:sym typeface="PF DinDisplay Pro" panose="02000506030000020004" pitchFamily="2" charset="0"/>
              </a:endParaRPr>
            </a:p>
          </p:txBody>
        </p:sp>
      </p:grpSp>
      <p:sp>
        <p:nvSpPr>
          <p:cNvPr id="20" name="Равнобедренный треугольник 6"/>
          <p:cNvSpPr/>
          <p:nvPr userDrawn="1"/>
        </p:nvSpPr>
        <p:spPr bwMode="auto">
          <a:xfrm rot="5400000">
            <a:off x="-50181" y="2136224"/>
            <a:ext cx="405125" cy="332414"/>
          </a:xfrm>
          <a:prstGeom prst="triangle">
            <a:avLst/>
          </a:prstGeom>
          <a:solidFill>
            <a:srgbClr val="57068C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800"/>
            <a:endParaRPr lang="ru-RU" sz="1350" dirty="0">
              <a:solidFill>
                <a:srgbClr val="000000"/>
              </a:solidFill>
              <a:sym typeface="PF DinDisplay Pro" panose="02000506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142689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7" y="1192"/>
          <a:ext cx="1466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7" y="1192"/>
                        <a:ext cx="1466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0" y="1131649"/>
            <a:ext cx="8301047" cy="34435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8875297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7" y="1192"/>
          <a:ext cx="1466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84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7" y="1192"/>
                        <a:ext cx="1466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4227252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4848106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21"/>
          <p:cNvSpPr/>
          <p:nvPr userDrawn="1"/>
        </p:nvSpPr>
        <p:spPr bwMode="auto">
          <a:xfrm>
            <a:off x="0" y="951864"/>
            <a:ext cx="9144000" cy="2701134"/>
          </a:xfrm>
          <a:prstGeom prst="rect">
            <a:avLst/>
          </a:prstGeom>
          <a:solidFill>
            <a:srgbClr val="DEDFE0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0" cap="flat" cmpd="sng" algn="ctr">
                <a:solidFill>
                  <a:srgbClr val="7F7F7F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68601" tIns="34301" rIns="68601" bIns="343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983"/>
            <a:endParaRPr lang="ru-RU" sz="1350" dirty="0">
              <a:solidFill>
                <a:srgbClr val="595959"/>
              </a:solidFill>
              <a:sym typeface="PF DinDisplay Pro" panose="02000506030000020004" pitchFamily="2" charset="0"/>
            </a:endParaRPr>
          </a:p>
        </p:txBody>
      </p:sp>
      <p:sp>
        <p:nvSpPr>
          <p:cNvPr id="16" name="Овал 10"/>
          <p:cNvSpPr/>
          <p:nvPr userDrawn="1"/>
        </p:nvSpPr>
        <p:spPr>
          <a:xfrm>
            <a:off x="7310452" y="511701"/>
            <a:ext cx="1495385" cy="1215375"/>
          </a:xfrm>
          <a:prstGeom prst="ellipse">
            <a:avLst/>
          </a:prstGeom>
          <a:solidFill>
            <a:srgbClr val="00985F"/>
          </a:solidFill>
          <a:ln w="25400" cap="flat" cmpd="sng" algn="ctr">
            <a:noFill/>
            <a:prstDash val="solid"/>
          </a:ln>
          <a:effectLst/>
        </p:spPr>
        <p:txBody>
          <a:bodyPr lIns="80490" tIns="0" rIns="80490" bIns="40245" rtlCol="0" anchor="ctr"/>
          <a:lstStyle/>
          <a:p>
            <a:pPr algn="ctr" defTabSz="685983">
              <a:defRPr/>
            </a:pPr>
            <a:endParaRPr lang="ru-RU" sz="7052" kern="0" dirty="0" smtClean="0">
              <a:solidFill>
                <a:prstClr val="white"/>
              </a:solidFill>
              <a:sym typeface="PF DinDisplay Pro" panose="02000506030000020004" pitchFamily="2" charset="0"/>
            </a:endParaRPr>
          </a:p>
        </p:txBody>
      </p:sp>
      <p:grpSp>
        <p:nvGrpSpPr>
          <p:cNvPr id="17" name="Group 16"/>
          <p:cNvGrpSpPr>
            <a:grpSpLocks noChangeAspect="1"/>
          </p:cNvGrpSpPr>
          <p:nvPr userDrawn="1"/>
        </p:nvGrpSpPr>
        <p:grpSpPr>
          <a:xfrm>
            <a:off x="7497752" y="662348"/>
            <a:ext cx="1120786" cy="914081"/>
            <a:chOff x="5176838" y="2511426"/>
            <a:chExt cx="1830386" cy="1836737"/>
          </a:xfrm>
          <a:solidFill>
            <a:sysClr val="window" lastClr="FFFFFF"/>
          </a:solidFill>
        </p:grpSpPr>
        <p:sp>
          <p:nvSpPr>
            <p:cNvPr id="18" name="Freeform 6"/>
            <p:cNvSpPr>
              <a:spLocks noEditPoints="1"/>
            </p:cNvSpPr>
            <p:nvPr/>
          </p:nvSpPr>
          <p:spPr bwMode="auto">
            <a:xfrm>
              <a:off x="6008688" y="2519363"/>
              <a:ext cx="998538" cy="1828800"/>
            </a:xfrm>
            <a:custGeom>
              <a:avLst/>
              <a:gdLst>
                <a:gd name="T0" fmla="*/ 373 w 1888"/>
                <a:gd name="T1" fmla="*/ 1790 h 3457"/>
                <a:gd name="T2" fmla="*/ 372 w 1888"/>
                <a:gd name="T3" fmla="*/ 1790 h 3457"/>
                <a:gd name="T4" fmla="*/ 372 w 1888"/>
                <a:gd name="T5" fmla="*/ 1790 h 3457"/>
                <a:gd name="T6" fmla="*/ 372 w 1888"/>
                <a:gd name="T7" fmla="*/ 1790 h 3457"/>
                <a:gd name="T8" fmla="*/ 283 w 1888"/>
                <a:gd name="T9" fmla="*/ 1921 h 3457"/>
                <a:gd name="T10" fmla="*/ 15 w 1888"/>
                <a:gd name="T11" fmla="*/ 1931 h 3457"/>
                <a:gd name="T12" fmla="*/ 0 w 1888"/>
                <a:gd name="T13" fmla="*/ 1950 h 3457"/>
                <a:gd name="T14" fmla="*/ 336 w 1888"/>
                <a:gd name="T15" fmla="*/ 3447 h 3457"/>
                <a:gd name="T16" fmla="*/ 633 w 1888"/>
                <a:gd name="T17" fmla="*/ 3391 h 3457"/>
                <a:gd name="T18" fmla="*/ 910 w 1888"/>
                <a:gd name="T19" fmla="*/ 3286 h 3457"/>
                <a:gd name="T20" fmla="*/ 1161 w 1888"/>
                <a:gd name="T21" fmla="*/ 3137 h 3457"/>
                <a:gd name="T22" fmla="*/ 1382 w 1888"/>
                <a:gd name="T23" fmla="*/ 2949 h 3457"/>
                <a:gd name="T24" fmla="*/ 1570 w 1888"/>
                <a:gd name="T25" fmla="*/ 2726 h 3457"/>
                <a:gd name="T26" fmla="*/ 1719 w 1888"/>
                <a:gd name="T27" fmla="*/ 2474 h 3457"/>
                <a:gd name="T28" fmla="*/ 1822 w 1888"/>
                <a:gd name="T29" fmla="*/ 2197 h 3457"/>
                <a:gd name="T30" fmla="*/ 1880 w 1888"/>
                <a:gd name="T31" fmla="*/ 1900 h 3457"/>
                <a:gd name="T32" fmla="*/ 1884 w 1888"/>
                <a:gd name="T33" fmla="*/ 1599 h 3457"/>
                <a:gd name="T34" fmla="*/ 1842 w 1888"/>
                <a:gd name="T35" fmla="*/ 1320 h 3457"/>
                <a:gd name="T36" fmla="*/ 1758 w 1888"/>
                <a:gd name="T37" fmla="*/ 1058 h 3457"/>
                <a:gd name="T38" fmla="*/ 1635 w 1888"/>
                <a:gd name="T39" fmla="*/ 816 h 3457"/>
                <a:gd name="T40" fmla="*/ 1477 w 1888"/>
                <a:gd name="T41" fmla="*/ 598 h 3457"/>
                <a:gd name="T42" fmla="*/ 1287 w 1888"/>
                <a:gd name="T43" fmla="*/ 407 h 3457"/>
                <a:gd name="T44" fmla="*/ 1071 w 1888"/>
                <a:gd name="T45" fmla="*/ 247 h 3457"/>
                <a:gd name="T46" fmla="*/ 830 w 1888"/>
                <a:gd name="T47" fmla="*/ 122 h 3457"/>
                <a:gd name="T48" fmla="*/ 569 w 1888"/>
                <a:gd name="T49" fmla="*/ 36 h 3457"/>
                <a:gd name="T50" fmla="*/ 337 w 1888"/>
                <a:gd name="T51" fmla="*/ 2668 h 3457"/>
                <a:gd name="T52" fmla="*/ 209 w 1888"/>
                <a:gd name="T53" fmla="*/ 2625 h 3457"/>
                <a:gd name="T54" fmla="*/ 158 w 1888"/>
                <a:gd name="T55" fmla="*/ 2573 h 3457"/>
                <a:gd name="T56" fmla="*/ 123 w 1888"/>
                <a:gd name="T57" fmla="*/ 2429 h 3457"/>
                <a:gd name="T58" fmla="*/ 171 w 1888"/>
                <a:gd name="T59" fmla="*/ 2314 h 3457"/>
                <a:gd name="T60" fmla="*/ 234 w 1888"/>
                <a:gd name="T61" fmla="*/ 2260 h 3457"/>
                <a:gd name="T62" fmla="*/ 382 w 1888"/>
                <a:gd name="T63" fmla="*/ 2239 h 3457"/>
                <a:gd name="T64" fmla="*/ 484 w 1888"/>
                <a:gd name="T65" fmla="*/ 2291 h 3457"/>
                <a:gd name="T66" fmla="*/ 538 w 1888"/>
                <a:gd name="T67" fmla="*/ 2367 h 3457"/>
                <a:gd name="T68" fmla="*/ 545 w 1888"/>
                <a:gd name="T69" fmla="*/ 2516 h 3457"/>
                <a:gd name="T70" fmla="*/ 491 w 1888"/>
                <a:gd name="T71" fmla="*/ 2605 h 3457"/>
                <a:gd name="T72" fmla="*/ 402 w 1888"/>
                <a:gd name="T73" fmla="*/ 2658 h 3457"/>
                <a:gd name="T74" fmla="*/ 780 w 1888"/>
                <a:gd name="T75" fmla="*/ 2658 h 3457"/>
                <a:gd name="T76" fmla="*/ 692 w 1888"/>
                <a:gd name="T77" fmla="*/ 2605 h 3457"/>
                <a:gd name="T78" fmla="*/ 638 w 1888"/>
                <a:gd name="T79" fmla="*/ 2516 h 3457"/>
                <a:gd name="T80" fmla="*/ 646 w 1888"/>
                <a:gd name="T81" fmla="*/ 2367 h 3457"/>
                <a:gd name="T82" fmla="*/ 700 w 1888"/>
                <a:gd name="T83" fmla="*/ 2291 h 3457"/>
                <a:gd name="T84" fmla="*/ 802 w 1888"/>
                <a:gd name="T85" fmla="*/ 2239 h 3457"/>
                <a:gd name="T86" fmla="*/ 948 w 1888"/>
                <a:gd name="T87" fmla="*/ 2260 h 3457"/>
                <a:gd name="T88" fmla="*/ 1011 w 1888"/>
                <a:gd name="T89" fmla="*/ 2314 h 3457"/>
                <a:gd name="T90" fmla="*/ 1059 w 1888"/>
                <a:gd name="T91" fmla="*/ 2429 h 3457"/>
                <a:gd name="T92" fmla="*/ 1024 w 1888"/>
                <a:gd name="T93" fmla="*/ 2573 h 3457"/>
                <a:gd name="T94" fmla="*/ 973 w 1888"/>
                <a:gd name="T95" fmla="*/ 2625 h 3457"/>
                <a:gd name="T96" fmla="*/ 844 w 1888"/>
                <a:gd name="T97" fmla="*/ 2668 h 3457"/>
                <a:gd name="T98" fmla="*/ 1230 w 1888"/>
                <a:gd name="T99" fmla="*/ 2632 h 3457"/>
                <a:gd name="T100" fmla="*/ 1178 w 1888"/>
                <a:gd name="T101" fmla="*/ 2582 h 3457"/>
                <a:gd name="T102" fmla="*/ 1135 w 1888"/>
                <a:gd name="T103" fmla="*/ 2452 h 3457"/>
                <a:gd name="T104" fmla="*/ 1178 w 1888"/>
                <a:gd name="T105" fmla="*/ 2322 h 3457"/>
                <a:gd name="T106" fmla="*/ 1230 w 1888"/>
                <a:gd name="T107" fmla="*/ 2272 h 3457"/>
                <a:gd name="T108" fmla="*/ 1373 w 1888"/>
                <a:gd name="T109" fmla="*/ 2236 h 3457"/>
                <a:gd name="T110" fmla="*/ 1488 w 1888"/>
                <a:gd name="T111" fmla="*/ 2284 h 3457"/>
                <a:gd name="T112" fmla="*/ 1542 w 1888"/>
                <a:gd name="T113" fmla="*/ 2349 h 3457"/>
                <a:gd name="T114" fmla="*/ 1563 w 1888"/>
                <a:gd name="T115" fmla="*/ 2495 h 3457"/>
                <a:gd name="T116" fmla="*/ 1511 w 1888"/>
                <a:gd name="T117" fmla="*/ 2598 h 3457"/>
                <a:gd name="T118" fmla="*/ 1435 w 1888"/>
                <a:gd name="T119" fmla="*/ 2651 h 3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888" h="3457">
                  <a:moveTo>
                    <a:pt x="373" y="1790"/>
                  </a:move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0" y="1815"/>
                  </a:lnTo>
                  <a:lnTo>
                    <a:pt x="364" y="1838"/>
                  </a:lnTo>
                  <a:lnTo>
                    <a:pt x="353" y="1859"/>
                  </a:lnTo>
                  <a:lnTo>
                    <a:pt x="340" y="1878"/>
                  </a:lnTo>
                  <a:lnTo>
                    <a:pt x="323" y="1896"/>
                  </a:lnTo>
                  <a:lnTo>
                    <a:pt x="304" y="1910"/>
                  </a:lnTo>
                  <a:lnTo>
                    <a:pt x="283" y="1921"/>
                  </a:lnTo>
                  <a:lnTo>
                    <a:pt x="260" y="1927"/>
                  </a:lnTo>
                  <a:lnTo>
                    <a:pt x="241" y="1931"/>
                  </a:lnTo>
                  <a:lnTo>
                    <a:pt x="221" y="1931"/>
                  </a:lnTo>
                  <a:lnTo>
                    <a:pt x="202" y="1931"/>
                  </a:lnTo>
                  <a:lnTo>
                    <a:pt x="182" y="1931"/>
                  </a:lnTo>
                  <a:lnTo>
                    <a:pt x="19" y="1931"/>
                  </a:lnTo>
                  <a:lnTo>
                    <a:pt x="15" y="1931"/>
                  </a:lnTo>
                  <a:lnTo>
                    <a:pt x="12" y="1932"/>
                  </a:lnTo>
                  <a:lnTo>
                    <a:pt x="9" y="1934"/>
                  </a:lnTo>
                  <a:lnTo>
                    <a:pt x="5" y="1936"/>
                  </a:lnTo>
                  <a:lnTo>
                    <a:pt x="3" y="1939"/>
                  </a:lnTo>
                  <a:lnTo>
                    <a:pt x="1" y="1942"/>
                  </a:lnTo>
                  <a:lnTo>
                    <a:pt x="0" y="1945"/>
                  </a:lnTo>
                  <a:lnTo>
                    <a:pt x="0" y="1950"/>
                  </a:lnTo>
                  <a:lnTo>
                    <a:pt x="0" y="3449"/>
                  </a:lnTo>
                  <a:lnTo>
                    <a:pt x="80" y="3455"/>
                  </a:lnTo>
                  <a:lnTo>
                    <a:pt x="159" y="3457"/>
                  </a:lnTo>
                  <a:lnTo>
                    <a:pt x="205" y="3456"/>
                  </a:lnTo>
                  <a:lnTo>
                    <a:pt x="248" y="3455"/>
                  </a:lnTo>
                  <a:lnTo>
                    <a:pt x="293" y="3452"/>
                  </a:lnTo>
                  <a:lnTo>
                    <a:pt x="336" y="3447"/>
                  </a:lnTo>
                  <a:lnTo>
                    <a:pt x="380" y="3443"/>
                  </a:lnTo>
                  <a:lnTo>
                    <a:pt x="423" y="3437"/>
                  </a:lnTo>
                  <a:lnTo>
                    <a:pt x="465" y="3429"/>
                  </a:lnTo>
                  <a:lnTo>
                    <a:pt x="508" y="3422"/>
                  </a:lnTo>
                  <a:lnTo>
                    <a:pt x="550" y="3412"/>
                  </a:lnTo>
                  <a:lnTo>
                    <a:pt x="592" y="3403"/>
                  </a:lnTo>
                  <a:lnTo>
                    <a:pt x="633" y="3391"/>
                  </a:lnTo>
                  <a:lnTo>
                    <a:pt x="673" y="3379"/>
                  </a:lnTo>
                  <a:lnTo>
                    <a:pt x="715" y="3365"/>
                  </a:lnTo>
                  <a:lnTo>
                    <a:pt x="754" y="3352"/>
                  </a:lnTo>
                  <a:lnTo>
                    <a:pt x="794" y="3337"/>
                  </a:lnTo>
                  <a:lnTo>
                    <a:pt x="832" y="3321"/>
                  </a:lnTo>
                  <a:lnTo>
                    <a:pt x="872" y="3304"/>
                  </a:lnTo>
                  <a:lnTo>
                    <a:pt x="910" y="3286"/>
                  </a:lnTo>
                  <a:lnTo>
                    <a:pt x="947" y="3267"/>
                  </a:lnTo>
                  <a:lnTo>
                    <a:pt x="984" y="3247"/>
                  </a:lnTo>
                  <a:lnTo>
                    <a:pt x="1020" y="3227"/>
                  </a:lnTo>
                  <a:lnTo>
                    <a:pt x="1056" y="3206"/>
                  </a:lnTo>
                  <a:lnTo>
                    <a:pt x="1092" y="3184"/>
                  </a:lnTo>
                  <a:lnTo>
                    <a:pt x="1126" y="3160"/>
                  </a:lnTo>
                  <a:lnTo>
                    <a:pt x="1161" y="3137"/>
                  </a:lnTo>
                  <a:lnTo>
                    <a:pt x="1194" y="3112"/>
                  </a:lnTo>
                  <a:lnTo>
                    <a:pt x="1227" y="3087"/>
                  </a:lnTo>
                  <a:lnTo>
                    <a:pt x="1260" y="3060"/>
                  </a:lnTo>
                  <a:lnTo>
                    <a:pt x="1291" y="3034"/>
                  </a:lnTo>
                  <a:lnTo>
                    <a:pt x="1322" y="3006"/>
                  </a:lnTo>
                  <a:lnTo>
                    <a:pt x="1353" y="2977"/>
                  </a:lnTo>
                  <a:lnTo>
                    <a:pt x="1382" y="2949"/>
                  </a:lnTo>
                  <a:lnTo>
                    <a:pt x="1411" y="2919"/>
                  </a:lnTo>
                  <a:lnTo>
                    <a:pt x="1440" y="2889"/>
                  </a:lnTo>
                  <a:lnTo>
                    <a:pt x="1467" y="2857"/>
                  </a:lnTo>
                  <a:lnTo>
                    <a:pt x="1494" y="2825"/>
                  </a:lnTo>
                  <a:lnTo>
                    <a:pt x="1520" y="2793"/>
                  </a:lnTo>
                  <a:lnTo>
                    <a:pt x="1545" y="2760"/>
                  </a:lnTo>
                  <a:lnTo>
                    <a:pt x="1570" y="2726"/>
                  </a:lnTo>
                  <a:lnTo>
                    <a:pt x="1593" y="2692"/>
                  </a:lnTo>
                  <a:lnTo>
                    <a:pt x="1616" y="2657"/>
                  </a:lnTo>
                  <a:lnTo>
                    <a:pt x="1638" y="2622"/>
                  </a:lnTo>
                  <a:lnTo>
                    <a:pt x="1659" y="2586"/>
                  </a:lnTo>
                  <a:lnTo>
                    <a:pt x="1680" y="2549"/>
                  </a:lnTo>
                  <a:lnTo>
                    <a:pt x="1699" y="2511"/>
                  </a:lnTo>
                  <a:lnTo>
                    <a:pt x="1719" y="2474"/>
                  </a:lnTo>
                  <a:lnTo>
                    <a:pt x="1736" y="2436"/>
                  </a:lnTo>
                  <a:lnTo>
                    <a:pt x="1752" y="2398"/>
                  </a:lnTo>
                  <a:lnTo>
                    <a:pt x="1768" y="2358"/>
                  </a:lnTo>
                  <a:lnTo>
                    <a:pt x="1783" y="2319"/>
                  </a:lnTo>
                  <a:lnTo>
                    <a:pt x="1798" y="2278"/>
                  </a:lnTo>
                  <a:lnTo>
                    <a:pt x="1811" y="2238"/>
                  </a:lnTo>
                  <a:lnTo>
                    <a:pt x="1822" y="2197"/>
                  </a:lnTo>
                  <a:lnTo>
                    <a:pt x="1834" y="2155"/>
                  </a:lnTo>
                  <a:lnTo>
                    <a:pt x="1845" y="2114"/>
                  </a:lnTo>
                  <a:lnTo>
                    <a:pt x="1853" y="2072"/>
                  </a:lnTo>
                  <a:lnTo>
                    <a:pt x="1862" y="2030"/>
                  </a:lnTo>
                  <a:lnTo>
                    <a:pt x="1869" y="1986"/>
                  </a:lnTo>
                  <a:lnTo>
                    <a:pt x="1874" y="1943"/>
                  </a:lnTo>
                  <a:lnTo>
                    <a:pt x="1880" y="1900"/>
                  </a:lnTo>
                  <a:lnTo>
                    <a:pt x="1884" y="1855"/>
                  </a:lnTo>
                  <a:lnTo>
                    <a:pt x="1886" y="1811"/>
                  </a:lnTo>
                  <a:lnTo>
                    <a:pt x="1888" y="1767"/>
                  </a:lnTo>
                  <a:lnTo>
                    <a:pt x="1888" y="1722"/>
                  </a:lnTo>
                  <a:lnTo>
                    <a:pt x="1888" y="1681"/>
                  </a:lnTo>
                  <a:lnTo>
                    <a:pt x="1887" y="1639"/>
                  </a:lnTo>
                  <a:lnTo>
                    <a:pt x="1884" y="1599"/>
                  </a:lnTo>
                  <a:lnTo>
                    <a:pt x="1881" y="1558"/>
                  </a:lnTo>
                  <a:lnTo>
                    <a:pt x="1876" y="1518"/>
                  </a:lnTo>
                  <a:lnTo>
                    <a:pt x="1871" y="1477"/>
                  </a:lnTo>
                  <a:lnTo>
                    <a:pt x="1866" y="1438"/>
                  </a:lnTo>
                  <a:lnTo>
                    <a:pt x="1858" y="1398"/>
                  </a:lnTo>
                  <a:lnTo>
                    <a:pt x="1851" y="1359"/>
                  </a:lnTo>
                  <a:lnTo>
                    <a:pt x="1842" y="1320"/>
                  </a:lnTo>
                  <a:lnTo>
                    <a:pt x="1832" y="1282"/>
                  </a:lnTo>
                  <a:lnTo>
                    <a:pt x="1821" y="1243"/>
                  </a:lnTo>
                  <a:lnTo>
                    <a:pt x="1811" y="1205"/>
                  </a:lnTo>
                  <a:lnTo>
                    <a:pt x="1798" y="1168"/>
                  </a:lnTo>
                  <a:lnTo>
                    <a:pt x="1785" y="1131"/>
                  </a:lnTo>
                  <a:lnTo>
                    <a:pt x="1772" y="1095"/>
                  </a:lnTo>
                  <a:lnTo>
                    <a:pt x="1758" y="1058"/>
                  </a:lnTo>
                  <a:lnTo>
                    <a:pt x="1742" y="1022"/>
                  </a:lnTo>
                  <a:lnTo>
                    <a:pt x="1726" y="987"/>
                  </a:lnTo>
                  <a:lnTo>
                    <a:pt x="1709" y="952"/>
                  </a:lnTo>
                  <a:lnTo>
                    <a:pt x="1691" y="917"/>
                  </a:lnTo>
                  <a:lnTo>
                    <a:pt x="1673" y="883"/>
                  </a:lnTo>
                  <a:lnTo>
                    <a:pt x="1654" y="849"/>
                  </a:lnTo>
                  <a:lnTo>
                    <a:pt x="1635" y="816"/>
                  </a:lnTo>
                  <a:lnTo>
                    <a:pt x="1614" y="783"/>
                  </a:lnTo>
                  <a:lnTo>
                    <a:pt x="1592" y="751"/>
                  </a:lnTo>
                  <a:lnTo>
                    <a:pt x="1570" y="719"/>
                  </a:lnTo>
                  <a:lnTo>
                    <a:pt x="1548" y="688"/>
                  </a:lnTo>
                  <a:lnTo>
                    <a:pt x="1525" y="657"/>
                  </a:lnTo>
                  <a:lnTo>
                    <a:pt x="1501" y="628"/>
                  </a:lnTo>
                  <a:lnTo>
                    <a:pt x="1477" y="598"/>
                  </a:lnTo>
                  <a:lnTo>
                    <a:pt x="1451" y="569"/>
                  </a:lnTo>
                  <a:lnTo>
                    <a:pt x="1425" y="540"/>
                  </a:lnTo>
                  <a:lnTo>
                    <a:pt x="1398" y="513"/>
                  </a:lnTo>
                  <a:lnTo>
                    <a:pt x="1372" y="485"/>
                  </a:lnTo>
                  <a:lnTo>
                    <a:pt x="1344" y="459"/>
                  </a:lnTo>
                  <a:lnTo>
                    <a:pt x="1316" y="432"/>
                  </a:lnTo>
                  <a:lnTo>
                    <a:pt x="1287" y="407"/>
                  </a:lnTo>
                  <a:lnTo>
                    <a:pt x="1257" y="382"/>
                  </a:lnTo>
                  <a:lnTo>
                    <a:pt x="1228" y="359"/>
                  </a:lnTo>
                  <a:lnTo>
                    <a:pt x="1197" y="334"/>
                  </a:lnTo>
                  <a:lnTo>
                    <a:pt x="1166" y="312"/>
                  </a:lnTo>
                  <a:lnTo>
                    <a:pt x="1135" y="289"/>
                  </a:lnTo>
                  <a:lnTo>
                    <a:pt x="1103" y="268"/>
                  </a:lnTo>
                  <a:lnTo>
                    <a:pt x="1071" y="247"/>
                  </a:lnTo>
                  <a:lnTo>
                    <a:pt x="1038" y="228"/>
                  </a:lnTo>
                  <a:lnTo>
                    <a:pt x="1004" y="208"/>
                  </a:lnTo>
                  <a:lnTo>
                    <a:pt x="970" y="189"/>
                  </a:lnTo>
                  <a:lnTo>
                    <a:pt x="936" y="171"/>
                  </a:lnTo>
                  <a:lnTo>
                    <a:pt x="901" y="154"/>
                  </a:lnTo>
                  <a:lnTo>
                    <a:pt x="866" y="138"/>
                  </a:lnTo>
                  <a:lnTo>
                    <a:pt x="830" y="122"/>
                  </a:lnTo>
                  <a:lnTo>
                    <a:pt x="794" y="108"/>
                  </a:lnTo>
                  <a:lnTo>
                    <a:pt x="757" y="94"/>
                  </a:lnTo>
                  <a:lnTo>
                    <a:pt x="721" y="81"/>
                  </a:lnTo>
                  <a:lnTo>
                    <a:pt x="684" y="68"/>
                  </a:lnTo>
                  <a:lnTo>
                    <a:pt x="646" y="56"/>
                  </a:lnTo>
                  <a:lnTo>
                    <a:pt x="608" y="46"/>
                  </a:lnTo>
                  <a:lnTo>
                    <a:pt x="569" y="36"/>
                  </a:lnTo>
                  <a:lnTo>
                    <a:pt x="531" y="28"/>
                  </a:lnTo>
                  <a:lnTo>
                    <a:pt x="492" y="19"/>
                  </a:lnTo>
                  <a:lnTo>
                    <a:pt x="453" y="12"/>
                  </a:lnTo>
                  <a:lnTo>
                    <a:pt x="412" y="5"/>
                  </a:lnTo>
                  <a:lnTo>
                    <a:pt x="373" y="0"/>
                  </a:lnTo>
                  <a:lnTo>
                    <a:pt x="373" y="1790"/>
                  </a:lnTo>
                  <a:close/>
                  <a:moveTo>
                    <a:pt x="337" y="2668"/>
                  </a:moveTo>
                  <a:lnTo>
                    <a:pt x="316" y="2667"/>
                  </a:lnTo>
                  <a:lnTo>
                    <a:pt x="294" y="2663"/>
                  </a:lnTo>
                  <a:lnTo>
                    <a:pt x="274" y="2658"/>
                  </a:lnTo>
                  <a:lnTo>
                    <a:pt x="253" y="2651"/>
                  </a:lnTo>
                  <a:lnTo>
                    <a:pt x="234" y="2642"/>
                  </a:lnTo>
                  <a:lnTo>
                    <a:pt x="217" y="2632"/>
                  </a:lnTo>
                  <a:lnTo>
                    <a:pt x="209" y="2625"/>
                  </a:lnTo>
                  <a:lnTo>
                    <a:pt x="200" y="2619"/>
                  </a:lnTo>
                  <a:lnTo>
                    <a:pt x="192" y="2612"/>
                  </a:lnTo>
                  <a:lnTo>
                    <a:pt x="185" y="2605"/>
                  </a:lnTo>
                  <a:lnTo>
                    <a:pt x="178" y="2598"/>
                  </a:lnTo>
                  <a:lnTo>
                    <a:pt x="171" y="2589"/>
                  </a:lnTo>
                  <a:lnTo>
                    <a:pt x="164" y="2582"/>
                  </a:lnTo>
                  <a:lnTo>
                    <a:pt x="158" y="2573"/>
                  </a:lnTo>
                  <a:lnTo>
                    <a:pt x="147" y="2555"/>
                  </a:lnTo>
                  <a:lnTo>
                    <a:pt x="139" y="2536"/>
                  </a:lnTo>
                  <a:lnTo>
                    <a:pt x="132" y="2516"/>
                  </a:lnTo>
                  <a:lnTo>
                    <a:pt x="126" y="2495"/>
                  </a:lnTo>
                  <a:lnTo>
                    <a:pt x="123" y="2474"/>
                  </a:lnTo>
                  <a:lnTo>
                    <a:pt x="122" y="2452"/>
                  </a:lnTo>
                  <a:lnTo>
                    <a:pt x="123" y="2429"/>
                  </a:lnTo>
                  <a:lnTo>
                    <a:pt x="126" y="2408"/>
                  </a:lnTo>
                  <a:lnTo>
                    <a:pt x="132" y="2387"/>
                  </a:lnTo>
                  <a:lnTo>
                    <a:pt x="139" y="2367"/>
                  </a:lnTo>
                  <a:lnTo>
                    <a:pt x="147" y="2349"/>
                  </a:lnTo>
                  <a:lnTo>
                    <a:pt x="158" y="2331"/>
                  </a:lnTo>
                  <a:lnTo>
                    <a:pt x="164" y="2322"/>
                  </a:lnTo>
                  <a:lnTo>
                    <a:pt x="171" y="2314"/>
                  </a:lnTo>
                  <a:lnTo>
                    <a:pt x="178" y="2306"/>
                  </a:lnTo>
                  <a:lnTo>
                    <a:pt x="185" y="2299"/>
                  </a:lnTo>
                  <a:lnTo>
                    <a:pt x="192" y="2291"/>
                  </a:lnTo>
                  <a:lnTo>
                    <a:pt x="200" y="2284"/>
                  </a:lnTo>
                  <a:lnTo>
                    <a:pt x="209" y="2277"/>
                  </a:lnTo>
                  <a:lnTo>
                    <a:pt x="217" y="2272"/>
                  </a:lnTo>
                  <a:lnTo>
                    <a:pt x="234" y="2260"/>
                  </a:lnTo>
                  <a:lnTo>
                    <a:pt x="253" y="2252"/>
                  </a:lnTo>
                  <a:lnTo>
                    <a:pt x="274" y="2244"/>
                  </a:lnTo>
                  <a:lnTo>
                    <a:pt x="294" y="2239"/>
                  </a:lnTo>
                  <a:lnTo>
                    <a:pt x="316" y="2236"/>
                  </a:lnTo>
                  <a:lnTo>
                    <a:pt x="337" y="2235"/>
                  </a:lnTo>
                  <a:lnTo>
                    <a:pt x="359" y="2236"/>
                  </a:lnTo>
                  <a:lnTo>
                    <a:pt x="382" y="2239"/>
                  </a:lnTo>
                  <a:lnTo>
                    <a:pt x="402" y="2244"/>
                  </a:lnTo>
                  <a:lnTo>
                    <a:pt x="422" y="2252"/>
                  </a:lnTo>
                  <a:lnTo>
                    <a:pt x="441" y="2260"/>
                  </a:lnTo>
                  <a:lnTo>
                    <a:pt x="459" y="2272"/>
                  </a:lnTo>
                  <a:lnTo>
                    <a:pt x="468" y="2277"/>
                  </a:lnTo>
                  <a:lnTo>
                    <a:pt x="476" y="2284"/>
                  </a:lnTo>
                  <a:lnTo>
                    <a:pt x="484" y="2291"/>
                  </a:lnTo>
                  <a:lnTo>
                    <a:pt x="491" y="2299"/>
                  </a:lnTo>
                  <a:lnTo>
                    <a:pt x="498" y="2306"/>
                  </a:lnTo>
                  <a:lnTo>
                    <a:pt x="505" y="2314"/>
                  </a:lnTo>
                  <a:lnTo>
                    <a:pt x="511" y="2322"/>
                  </a:lnTo>
                  <a:lnTo>
                    <a:pt x="517" y="2331"/>
                  </a:lnTo>
                  <a:lnTo>
                    <a:pt x="528" y="2349"/>
                  </a:lnTo>
                  <a:lnTo>
                    <a:pt x="538" y="2367"/>
                  </a:lnTo>
                  <a:lnTo>
                    <a:pt x="545" y="2387"/>
                  </a:lnTo>
                  <a:lnTo>
                    <a:pt x="550" y="2408"/>
                  </a:lnTo>
                  <a:lnTo>
                    <a:pt x="553" y="2429"/>
                  </a:lnTo>
                  <a:lnTo>
                    <a:pt x="555" y="2452"/>
                  </a:lnTo>
                  <a:lnTo>
                    <a:pt x="553" y="2474"/>
                  </a:lnTo>
                  <a:lnTo>
                    <a:pt x="550" y="2495"/>
                  </a:lnTo>
                  <a:lnTo>
                    <a:pt x="545" y="2516"/>
                  </a:lnTo>
                  <a:lnTo>
                    <a:pt x="538" y="2536"/>
                  </a:lnTo>
                  <a:lnTo>
                    <a:pt x="528" y="2555"/>
                  </a:lnTo>
                  <a:lnTo>
                    <a:pt x="517" y="2573"/>
                  </a:lnTo>
                  <a:lnTo>
                    <a:pt x="511" y="2582"/>
                  </a:lnTo>
                  <a:lnTo>
                    <a:pt x="505" y="2589"/>
                  </a:lnTo>
                  <a:lnTo>
                    <a:pt x="498" y="2598"/>
                  </a:lnTo>
                  <a:lnTo>
                    <a:pt x="491" y="2605"/>
                  </a:lnTo>
                  <a:lnTo>
                    <a:pt x="484" y="2612"/>
                  </a:lnTo>
                  <a:lnTo>
                    <a:pt x="476" y="2619"/>
                  </a:lnTo>
                  <a:lnTo>
                    <a:pt x="468" y="2625"/>
                  </a:lnTo>
                  <a:lnTo>
                    <a:pt x="459" y="2632"/>
                  </a:lnTo>
                  <a:lnTo>
                    <a:pt x="441" y="2642"/>
                  </a:lnTo>
                  <a:lnTo>
                    <a:pt x="422" y="2651"/>
                  </a:lnTo>
                  <a:lnTo>
                    <a:pt x="402" y="2658"/>
                  </a:lnTo>
                  <a:lnTo>
                    <a:pt x="382" y="2663"/>
                  </a:lnTo>
                  <a:lnTo>
                    <a:pt x="359" y="2667"/>
                  </a:lnTo>
                  <a:lnTo>
                    <a:pt x="337" y="2668"/>
                  </a:lnTo>
                  <a:close/>
                  <a:moveTo>
                    <a:pt x="844" y="2668"/>
                  </a:moveTo>
                  <a:lnTo>
                    <a:pt x="823" y="2667"/>
                  </a:lnTo>
                  <a:lnTo>
                    <a:pt x="802" y="2663"/>
                  </a:lnTo>
                  <a:lnTo>
                    <a:pt x="780" y="2658"/>
                  </a:lnTo>
                  <a:lnTo>
                    <a:pt x="760" y="2651"/>
                  </a:lnTo>
                  <a:lnTo>
                    <a:pt x="742" y="2642"/>
                  </a:lnTo>
                  <a:lnTo>
                    <a:pt x="724" y="2632"/>
                  </a:lnTo>
                  <a:lnTo>
                    <a:pt x="716" y="2625"/>
                  </a:lnTo>
                  <a:lnTo>
                    <a:pt x="707" y="2619"/>
                  </a:lnTo>
                  <a:lnTo>
                    <a:pt x="700" y="2612"/>
                  </a:lnTo>
                  <a:lnTo>
                    <a:pt x="692" y="2605"/>
                  </a:lnTo>
                  <a:lnTo>
                    <a:pt x="685" y="2598"/>
                  </a:lnTo>
                  <a:lnTo>
                    <a:pt x="678" y="2589"/>
                  </a:lnTo>
                  <a:lnTo>
                    <a:pt x="671" y="2582"/>
                  </a:lnTo>
                  <a:lnTo>
                    <a:pt x="666" y="2573"/>
                  </a:lnTo>
                  <a:lnTo>
                    <a:pt x="654" y="2555"/>
                  </a:lnTo>
                  <a:lnTo>
                    <a:pt x="646" y="2536"/>
                  </a:lnTo>
                  <a:lnTo>
                    <a:pt x="638" y="2516"/>
                  </a:lnTo>
                  <a:lnTo>
                    <a:pt x="633" y="2495"/>
                  </a:lnTo>
                  <a:lnTo>
                    <a:pt x="630" y="2474"/>
                  </a:lnTo>
                  <a:lnTo>
                    <a:pt x="629" y="2452"/>
                  </a:lnTo>
                  <a:lnTo>
                    <a:pt x="630" y="2429"/>
                  </a:lnTo>
                  <a:lnTo>
                    <a:pt x="633" y="2408"/>
                  </a:lnTo>
                  <a:lnTo>
                    <a:pt x="638" y="2387"/>
                  </a:lnTo>
                  <a:lnTo>
                    <a:pt x="646" y="2367"/>
                  </a:lnTo>
                  <a:lnTo>
                    <a:pt x="654" y="2349"/>
                  </a:lnTo>
                  <a:lnTo>
                    <a:pt x="666" y="2331"/>
                  </a:lnTo>
                  <a:lnTo>
                    <a:pt x="671" y="2322"/>
                  </a:lnTo>
                  <a:lnTo>
                    <a:pt x="678" y="2314"/>
                  </a:lnTo>
                  <a:lnTo>
                    <a:pt x="685" y="2306"/>
                  </a:lnTo>
                  <a:lnTo>
                    <a:pt x="692" y="2299"/>
                  </a:lnTo>
                  <a:lnTo>
                    <a:pt x="700" y="2291"/>
                  </a:lnTo>
                  <a:lnTo>
                    <a:pt x="707" y="2284"/>
                  </a:lnTo>
                  <a:lnTo>
                    <a:pt x="716" y="2277"/>
                  </a:lnTo>
                  <a:lnTo>
                    <a:pt x="724" y="2272"/>
                  </a:lnTo>
                  <a:lnTo>
                    <a:pt x="742" y="2260"/>
                  </a:lnTo>
                  <a:lnTo>
                    <a:pt x="760" y="2252"/>
                  </a:lnTo>
                  <a:lnTo>
                    <a:pt x="780" y="2244"/>
                  </a:lnTo>
                  <a:lnTo>
                    <a:pt x="802" y="2239"/>
                  </a:lnTo>
                  <a:lnTo>
                    <a:pt x="823" y="2236"/>
                  </a:lnTo>
                  <a:lnTo>
                    <a:pt x="844" y="2235"/>
                  </a:lnTo>
                  <a:lnTo>
                    <a:pt x="866" y="2236"/>
                  </a:lnTo>
                  <a:lnTo>
                    <a:pt x="888" y="2239"/>
                  </a:lnTo>
                  <a:lnTo>
                    <a:pt x="909" y="2244"/>
                  </a:lnTo>
                  <a:lnTo>
                    <a:pt x="929" y="2252"/>
                  </a:lnTo>
                  <a:lnTo>
                    <a:pt x="948" y="2260"/>
                  </a:lnTo>
                  <a:lnTo>
                    <a:pt x="966" y="2272"/>
                  </a:lnTo>
                  <a:lnTo>
                    <a:pt x="973" y="2277"/>
                  </a:lnTo>
                  <a:lnTo>
                    <a:pt x="982" y="2284"/>
                  </a:lnTo>
                  <a:lnTo>
                    <a:pt x="990" y="2291"/>
                  </a:lnTo>
                  <a:lnTo>
                    <a:pt x="998" y="2299"/>
                  </a:lnTo>
                  <a:lnTo>
                    <a:pt x="1004" y="2306"/>
                  </a:lnTo>
                  <a:lnTo>
                    <a:pt x="1011" y="2314"/>
                  </a:lnTo>
                  <a:lnTo>
                    <a:pt x="1018" y="2322"/>
                  </a:lnTo>
                  <a:lnTo>
                    <a:pt x="1024" y="2331"/>
                  </a:lnTo>
                  <a:lnTo>
                    <a:pt x="1035" y="2349"/>
                  </a:lnTo>
                  <a:lnTo>
                    <a:pt x="1043" y="2367"/>
                  </a:lnTo>
                  <a:lnTo>
                    <a:pt x="1051" y="2387"/>
                  </a:lnTo>
                  <a:lnTo>
                    <a:pt x="1056" y="2408"/>
                  </a:lnTo>
                  <a:lnTo>
                    <a:pt x="1059" y="2429"/>
                  </a:lnTo>
                  <a:lnTo>
                    <a:pt x="1060" y="2452"/>
                  </a:lnTo>
                  <a:lnTo>
                    <a:pt x="1059" y="2474"/>
                  </a:lnTo>
                  <a:lnTo>
                    <a:pt x="1056" y="2495"/>
                  </a:lnTo>
                  <a:lnTo>
                    <a:pt x="1051" y="2516"/>
                  </a:lnTo>
                  <a:lnTo>
                    <a:pt x="1043" y="2536"/>
                  </a:lnTo>
                  <a:lnTo>
                    <a:pt x="1035" y="2555"/>
                  </a:lnTo>
                  <a:lnTo>
                    <a:pt x="1024" y="2573"/>
                  </a:lnTo>
                  <a:lnTo>
                    <a:pt x="1018" y="2582"/>
                  </a:lnTo>
                  <a:lnTo>
                    <a:pt x="1011" y="2589"/>
                  </a:lnTo>
                  <a:lnTo>
                    <a:pt x="1004" y="2598"/>
                  </a:lnTo>
                  <a:lnTo>
                    <a:pt x="998" y="2605"/>
                  </a:lnTo>
                  <a:lnTo>
                    <a:pt x="990" y="2612"/>
                  </a:lnTo>
                  <a:lnTo>
                    <a:pt x="982" y="2619"/>
                  </a:lnTo>
                  <a:lnTo>
                    <a:pt x="973" y="2625"/>
                  </a:lnTo>
                  <a:lnTo>
                    <a:pt x="966" y="2632"/>
                  </a:lnTo>
                  <a:lnTo>
                    <a:pt x="948" y="2642"/>
                  </a:lnTo>
                  <a:lnTo>
                    <a:pt x="929" y="2651"/>
                  </a:lnTo>
                  <a:lnTo>
                    <a:pt x="909" y="2658"/>
                  </a:lnTo>
                  <a:lnTo>
                    <a:pt x="888" y="2663"/>
                  </a:lnTo>
                  <a:lnTo>
                    <a:pt x="866" y="2667"/>
                  </a:lnTo>
                  <a:lnTo>
                    <a:pt x="844" y="2668"/>
                  </a:lnTo>
                  <a:close/>
                  <a:moveTo>
                    <a:pt x="1351" y="2668"/>
                  </a:moveTo>
                  <a:lnTo>
                    <a:pt x="1329" y="2667"/>
                  </a:lnTo>
                  <a:lnTo>
                    <a:pt x="1307" y="2663"/>
                  </a:lnTo>
                  <a:lnTo>
                    <a:pt x="1287" y="2658"/>
                  </a:lnTo>
                  <a:lnTo>
                    <a:pt x="1267" y="2651"/>
                  </a:lnTo>
                  <a:lnTo>
                    <a:pt x="1248" y="2642"/>
                  </a:lnTo>
                  <a:lnTo>
                    <a:pt x="1230" y="2632"/>
                  </a:lnTo>
                  <a:lnTo>
                    <a:pt x="1221" y="2625"/>
                  </a:lnTo>
                  <a:lnTo>
                    <a:pt x="1214" y="2619"/>
                  </a:lnTo>
                  <a:lnTo>
                    <a:pt x="1205" y="2612"/>
                  </a:lnTo>
                  <a:lnTo>
                    <a:pt x="1198" y="2605"/>
                  </a:lnTo>
                  <a:lnTo>
                    <a:pt x="1191" y="2598"/>
                  </a:lnTo>
                  <a:lnTo>
                    <a:pt x="1184" y="2589"/>
                  </a:lnTo>
                  <a:lnTo>
                    <a:pt x="1178" y="2582"/>
                  </a:lnTo>
                  <a:lnTo>
                    <a:pt x="1172" y="2573"/>
                  </a:lnTo>
                  <a:lnTo>
                    <a:pt x="1161" y="2555"/>
                  </a:lnTo>
                  <a:lnTo>
                    <a:pt x="1152" y="2536"/>
                  </a:lnTo>
                  <a:lnTo>
                    <a:pt x="1145" y="2516"/>
                  </a:lnTo>
                  <a:lnTo>
                    <a:pt x="1140" y="2495"/>
                  </a:lnTo>
                  <a:lnTo>
                    <a:pt x="1137" y="2474"/>
                  </a:lnTo>
                  <a:lnTo>
                    <a:pt x="1135" y="2452"/>
                  </a:lnTo>
                  <a:lnTo>
                    <a:pt x="1137" y="2429"/>
                  </a:lnTo>
                  <a:lnTo>
                    <a:pt x="1140" y="2408"/>
                  </a:lnTo>
                  <a:lnTo>
                    <a:pt x="1145" y="2387"/>
                  </a:lnTo>
                  <a:lnTo>
                    <a:pt x="1152" y="2367"/>
                  </a:lnTo>
                  <a:lnTo>
                    <a:pt x="1161" y="2349"/>
                  </a:lnTo>
                  <a:lnTo>
                    <a:pt x="1172" y="2331"/>
                  </a:lnTo>
                  <a:lnTo>
                    <a:pt x="1178" y="2322"/>
                  </a:lnTo>
                  <a:lnTo>
                    <a:pt x="1184" y="2314"/>
                  </a:lnTo>
                  <a:lnTo>
                    <a:pt x="1191" y="2306"/>
                  </a:lnTo>
                  <a:lnTo>
                    <a:pt x="1198" y="2299"/>
                  </a:lnTo>
                  <a:lnTo>
                    <a:pt x="1205" y="2291"/>
                  </a:lnTo>
                  <a:lnTo>
                    <a:pt x="1214" y="2284"/>
                  </a:lnTo>
                  <a:lnTo>
                    <a:pt x="1221" y="2277"/>
                  </a:lnTo>
                  <a:lnTo>
                    <a:pt x="1230" y="2272"/>
                  </a:lnTo>
                  <a:lnTo>
                    <a:pt x="1248" y="2260"/>
                  </a:lnTo>
                  <a:lnTo>
                    <a:pt x="1267" y="2252"/>
                  </a:lnTo>
                  <a:lnTo>
                    <a:pt x="1287" y="2244"/>
                  </a:lnTo>
                  <a:lnTo>
                    <a:pt x="1307" y="2239"/>
                  </a:lnTo>
                  <a:lnTo>
                    <a:pt x="1329" y="2236"/>
                  </a:lnTo>
                  <a:lnTo>
                    <a:pt x="1351" y="2235"/>
                  </a:lnTo>
                  <a:lnTo>
                    <a:pt x="1373" y="2236"/>
                  </a:lnTo>
                  <a:lnTo>
                    <a:pt x="1394" y="2239"/>
                  </a:lnTo>
                  <a:lnTo>
                    <a:pt x="1415" y="2244"/>
                  </a:lnTo>
                  <a:lnTo>
                    <a:pt x="1435" y="2252"/>
                  </a:lnTo>
                  <a:lnTo>
                    <a:pt x="1455" y="2260"/>
                  </a:lnTo>
                  <a:lnTo>
                    <a:pt x="1472" y="2272"/>
                  </a:lnTo>
                  <a:lnTo>
                    <a:pt x="1480" y="2277"/>
                  </a:lnTo>
                  <a:lnTo>
                    <a:pt x="1488" y="2284"/>
                  </a:lnTo>
                  <a:lnTo>
                    <a:pt x="1496" y="2291"/>
                  </a:lnTo>
                  <a:lnTo>
                    <a:pt x="1504" y="2299"/>
                  </a:lnTo>
                  <a:lnTo>
                    <a:pt x="1511" y="2306"/>
                  </a:lnTo>
                  <a:lnTo>
                    <a:pt x="1518" y="2314"/>
                  </a:lnTo>
                  <a:lnTo>
                    <a:pt x="1525" y="2322"/>
                  </a:lnTo>
                  <a:lnTo>
                    <a:pt x="1530" y="2331"/>
                  </a:lnTo>
                  <a:lnTo>
                    <a:pt x="1542" y="2349"/>
                  </a:lnTo>
                  <a:lnTo>
                    <a:pt x="1550" y="2367"/>
                  </a:lnTo>
                  <a:lnTo>
                    <a:pt x="1557" y="2387"/>
                  </a:lnTo>
                  <a:lnTo>
                    <a:pt x="1563" y="2408"/>
                  </a:lnTo>
                  <a:lnTo>
                    <a:pt x="1566" y="2429"/>
                  </a:lnTo>
                  <a:lnTo>
                    <a:pt x="1567" y="2452"/>
                  </a:lnTo>
                  <a:lnTo>
                    <a:pt x="1566" y="2474"/>
                  </a:lnTo>
                  <a:lnTo>
                    <a:pt x="1563" y="2495"/>
                  </a:lnTo>
                  <a:lnTo>
                    <a:pt x="1557" y="2516"/>
                  </a:lnTo>
                  <a:lnTo>
                    <a:pt x="1550" y="2536"/>
                  </a:lnTo>
                  <a:lnTo>
                    <a:pt x="1542" y="2555"/>
                  </a:lnTo>
                  <a:lnTo>
                    <a:pt x="1530" y="2573"/>
                  </a:lnTo>
                  <a:lnTo>
                    <a:pt x="1525" y="2582"/>
                  </a:lnTo>
                  <a:lnTo>
                    <a:pt x="1518" y="2589"/>
                  </a:lnTo>
                  <a:lnTo>
                    <a:pt x="1511" y="2598"/>
                  </a:lnTo>
                  <a:lnTo>
                    <a:pt x="1504" y="2605"/>
                  </a:lnTo>
                  <a:lnTo>
                    <a:pt x="1496" y="2612"/>
                  </a:lnTo>
                  <a:lnTo>
                    <a:pt x="1488" y="2619"/>
                  </a:lnTo>
                  <a:lnTo>
                    <a:pt x="1480" y="2625"/>
                  </a:lnTo>
                  <a:lnTo>
                    <a:pt x="1472" y="2632"/>
                  </a:lnTo>
                  <a:lnTo>
                    <a:pt x="1455" y="2642"/>
                  </a:lnTo>
                  <a:lnTo>
                    <a:pt x="1435" y="2651"/>
                  </a:lnTo>
                  <a:lnTo>
                    <a:pt x="1415" y="2658"/>
                  </a:lnTo>
                  <a:lnTo>
                    <a:pt x="1394" y="2663"/>
                  </a:lnTo>
                  <a:lnTo>
                    <a:pt x="1373" y="2667"/>
                  </a:lnTo>
                  <a:lnTo>
                    <a:pt x="1351" y="266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983">
                <a:defRPr/>
              </a:pPr>
              <a:endParaRPr lang="ru-RU" sz="1350" kern="0" dirty="0" smtClean="0">
                <a:solidFill>
                  <a:prstClr val="black"/>
                </a:solidFill>
                <a:sym typeface="PF DinDisplay Pro" panose="02000506030000020004" pitchFamily="2" charset="0"/>
              </a:endParaRPr>
            </a:p>
          </p:txBody>
        </p:sp>
        <p:sp>
          <p:nvSpPr>
            <p:cNvPr id="19" name="Freeform 7"/>
            <p:cNvSpPr>
              <a:spLocks noEditPoints="1"/>
            </p:cNvSpPr>
            <p:nvPr/>
          </p:nvSpPr>
          <p:spPr bwMode="auto">
            <a:xfrm>
              <a:off x="5176838" y="2511426"/>
              <a:ext cx="919163" cy="1816100"/>
            </a:xfrm>
            <a:custGeom>
              <a:avLst/>
              <a:gdLst>
                <a:gd name="T0" fmla="*/ 1734 w 1735"/>
                <a:gd name="T1" fmla="*/ 0 h 3431"/>
                <a:gd name="T2" fmla="*/ 1734 w 1735"/>
                <a:gd name="T3" fmla="*/ 0 h 3431"/>
                <a:gd name="T4" fmla="*/ 1733 w 1735"/>
                <a:gd name="T5" fmla="*/ 0 h 3431"/>
                <a:gd name="T6" fmla="*/ 1733 w 1735"/>
                <a:gd name="T7" fmla="*/ 0 h 3431"/>
                <a:gd name="T8" fmla="*/ 1732 w 1735"/>
                <a:gd name="T9" fmla="*/ 0 h 3431"/>
                <a:gd name="T10" fmla="*/ 1731 w 1735"/>
                <a:gd name="T11" fmla="*/ 0 h 3431"/>
                <a:gd name="T12" fmla="*/ 1730 w 1735"/>
                <a:gd name="T13" fmla="*/ 0 h 3431"/>
                <a:gd name="T14" fmla="*/ 1729 w 1735"/>
                <a:gd name="T15" fmla="*/ 0 h 3431"/>
                <a:gd name="T16" fmla="*/ 1510 w 1735"/>
                <a:gd name="T17" fmla="*/ 14 h 3431"/>
                <a:gd name="T18" fmla="*/ 1298 w 1735"/>
                <a:gd name="T19" fmla="*/ 55 h 3431"/>
                <a:gd name="T20" fmla="*/ 1095 w 1735"/>
                <a:gd name="T21" fmla="*/ 121 h 3431"/>
                <a:gd name="T22" fmla="*/ 905 w 1735"/>
                <a:gd name="T23" fmla="*/ 210 h 3431"/>
                <a:gd name="T24" fmla="*/ 728 w 1735"/>
                <a:gd name="T25" fmla="*/ 320 h 3431"/>
                <a:gd name="T26" fmla="*/ 567 w 1735"/>
                <a:gd name="T27" fmla="*/ 451 h 3431"/>
                <a:gd name="T28" fmla="*/ 422 w 1735"/>
                <a:gd name="T29" fmla="*/ 600 h 3431"/>
                <a:gd name="T30" fmla="*/ 296 w 1735"/>
                <a:gd name="T31" fmla="*/ 765 h 3431"/>
                <a:gd name="T32" fmla="*/ 190 w 1735"/>
                <a:gd name="T33" fmla="*/ 945 h 3431"/>
                <a:gd name="T34" fmla="*/ 105 w 1735"/>
                <a:gd name="T35" fmla="*/ 1138 h 3431"/>
                <a:gd name="T36" fmla="*/ 45 w 1735"/>
                <a:gd name="T37" fmla="*/ 1344 h 3431"/>
                <a:gd name="T38" fmla="*/ 10 w 1735"/>
                <a:gd name="T39" fmla="*/ 1558 h 3431"/>
                <a:gd name="T40" fmla="*/ 1 w 1735"/>
                <a:gd name="T41" fmla="*/ 1773 h 3431"/>
                <a:gd name="T42" fmla="*/ 15 w 1735"/>
                <a:gd name="T43" fmla="*/ 1965 h 3431"/>
                <a:gd name="T44" fmla="*/ 50 w 1735"/>
                <a:gd name="T45" fmla="*/ 2150 h 3431"/>
                <a:gd name="T46" fmla="*/ 104 w 1735"/>
                <a:gd name="T47" fmla="*/ 2327 h 3431"/>
                <a:gd name="T48" fmla="*/ 175 w 1735"/>
                <a:gd name="T49" fmla="*/ 2496 h 3431"/>
                <a:gd name="T50" fmla="*/ 263 w 1735"/>
                <a:gd name="T51" fmla="*/ 2655 h 3431"/>
                <a:gd name="T52" fmla="*/ 367 w 1735"/>
                <a:gd name="T53" fmla="*/ 2803 h 3431"/>
                <a:gd name="T54" fmla="*/ 486 w 1735"/>
                <a:gd name="T55" fmla="*/ 2939 h 3431"/>
                <a:gd name="T56" fmla="*/ 617 w 1735"/>
                <a:gd name="T57" fmla="*/ 3063 h 3431"/>
                <a:gd name="T58" fmla="*/ 760 w 1735"/>
                <a:gd name="T59" fmla="*/ 3172 h 3431"/>
                <a:gd name="T60" fmla="*/ 916 w 1735"/>
                <a:gd name="T61" fmla="*/ 3266 h 3431"/>
                <a:gd name="T62" fmla="*/ 1080 w 1735"/>
                <a:gd name="T63" fmla="*/ 3343 h 3431"/>
                <a:gd name="T64" fmla="*/ 1254 w 1735"/>
                <a:gd name="T65" fmla="*/ 3403 h 3431"/>
                <a:gd name="T66" fmla="*/ 1365 w 1735"/>
                <a:gd name="T67" fmla="*/ 1847 h 3431"/>
                <a:gd name="T68" fmla="*/ 1446 w 1735"/>
                <a:gd name="T69" fmla="*/ 1748 h 3431"/>
                <a:gd name="T70" fmla="*/ 1498 w 1735"/>
                <a:gd name="T71" fmla="*/ 1735 h 3431"/>
                <a:gd name="T72" fmla="*/ 1498 w 1735"/>
                <a:gd name="T73" fmla="*/ 1735 h 3431"/>
                <a:gd name="T74" fmla="*/ 1498 w 1735"/>
                <a:gd name="T75" fmla="*/ 1735 h 3431"/>
                <a:gd name="T76" fmla="*/ 1498 w 1735"/>
                <a:gd name="T77" fmla="*/ 1735 h 3431"/>
                <a:gd name="T78" fmla="*/ 1704 w 1735"/>
                <a:gd name="T79" fmla="*/ 1735 h 3431"/>
                <a:gd name="T80" fmla="*/ 1730 w 1735"/>
                <a:gd name="T81" fmla="*/ 1729 h 3431"/>
                <a:gd name="T82" fmla="*/ 1735 w 1735"/>
                <a:gd name="T83" fmla="*/ 0 h 3431"/>
                <a:gd name="T84" fmla="*/ 1314 w 1735"/>
                <a:gd name="T85" fmla="*/ 1414 h 3431"/>
                <a:gd name="T86" fmla="*/ 1253 w 1735"/>
                <a:gd name="T87" fmla="*/ 1375 h 3431"/>
                <a:gd name="T88" fmla="*/ 1219 w 1735"/>
                <a:gd name="T89" fmla="*/ 1335 h 3431"/>
                <a:gd name="T90" fmla="*/ 1183 w 1735"/>
                <a:gd name="T91" fmla="*/ 1236 h 3431"/>
                <a:gd name="T92" fmla="*/ 1199 w 1735"/>
                <a:gd name="T93" fmla="*/ 1130 h 3431"/>
                <a:gd name="T94" fmla="*/ 1238 w 1735"/>
                <a:gd name="T95" fmla="*/ 1068 h 3431"/>
                <a:gd name="T96" fmla="*/ 1277 w 1735"/>
                <a:gd name="T97" fmla="*/ 1034 h 3431"/>
                <a:gd name="T98" fmla="*/ 1376 w 1735"/>
                <a:gd name="T99" fmla="*/ 998 h 3431"/>
                <a:gd name="T100" fmla="*/ 1482 w 1735"/>
                <a:gd name="T101" fmla="*/ 1014 h 3431"/>
                <a:gd name="T102" fmla="*/ 1544 w 1735"/>
                <a:gd name="T103" fmla="*/ 1053 h 3431"/>
                <a:gd name="T104" fmla="*/ 1578 w 1735"/>
                <a:gd name="T105" fmla="*/ 1093 h 3431"/>
                <a:gd name="T106" fmla="*/ 1614 w 1735"/>
                <a:gd name="T107" fmla="*/ 1192 h 3431"/>
                <a:gd name="T108" fmla="*/ 1598 w 1735"/>
                <a:gd name="T109" fmla="*/ 1298 h 3431"/>
                <a:gd name="T110" fmla="*/ 1558 w 1735"/>
                <a:gd name="T111" fmla="*/ 1360 h 3431"/>
                <a:gd name="T112" fmla="*/ 1519 w 1735"/>
                <a:gd name="T113" fmla="*/ 1394 h 3431"/>
                <a:gd name="T114" fmla="*/ 1421 w 1735"/>
                <a:gd name="T115" fmla="*/ 1430 h 3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35" h="3431">
                  <a:moveTo>
                    <a:pt x="1735" y="0"/>
                  </a:move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2" y="0"/>
                  </a:lnTo>
                  <a:lnTo>
                    <a:pt x="1732" y="0"/>
                  </a:lnTo>
                  <a:lnTo>
                    <a:pt x="1732" y="0"/>
                  </a:lnTo>
                  <a:lnTo>
                    <a:pt x="1732" y="0"/>
                  </a:lnTo>
                  <a:lnTo>
                    <a:pt x="1732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29" y="0"/>
                  </a:lnTo>
                  <a:lnTo>
                    <a:pt x="1685" y="1"/>
                  </a:lnTo>
                  <a:lnTo>
                    <a:pt x="1641" y="2"/>
                  </a:lnTo>
                  <a:lnTo>
                    <a:pt x="1597" y="6"/>
                  </a:lnTo>
                  <a:lnTo>
                    <a:pt x="1553" y="10"/>
                  </a:lnTo>
                  <a:lnTo>
                    <a:pt x="1510" y="14"/>
                  </a:lnTo>
                  <a:lnTo>
                    <a:pt x="1466" y="21"/>
                  </a:lnTo>
                  <a:lnTo>
                    <a:pt x="1424" y="28"/>
                  </a:lnTo>
                  <a:lnTo>
                    <a:pt x="1381" y="35"/>
                  </a:lnTo>
                  <a:lnTo>
                    <a:pt x="1339" y="45"/>
                  </a:lnTo>
                  <a:lnTo>
                    <a:pt x="1298" y="55"/>
                  </a:lnTo>
                  <a:lnTo>
                    <a:pt x="1256" y="66"/>
                  </a:lnTo>
                  <a:lnTo>
                    <a:pt x="1215" y="78"/>
                  </a:lnTo>
                  <a:lnTo>
                    <a:pt x="1175" y="92"/>
                  </a:lnTo>
                  <a:lnTo>
                    <a:pt x="1135" y="106"/>
                  </a:lnTo>
                  <a:lnTo>
                    <a:pt x="1095" y="121"/>
                  </a:lnTo>
                  <a:lnTo>
                    <a:pt x="1057" y="136"/>
                  </a:lnTo>
                  <a:lnTo>
                    <a:pt x="1018" y="154"/>
                  </a:lnTo>
                  <a:lnTo>
                    <a:pt x="980" y="172"/>
                  </a:lnTo>
                  <a:lnTo>
                    <a:pt x="943" y="191"/>
                  </a:lnTo>
                  <a:lnTo>
                    <a:pt x="905" y="210"/>
                  </a:lnTo>
                  <a:lnTo>
                    <a:pt x="869" y="230"/>
                  </a:lnTo>
                  <a:lnTo>
                    <a:pt x="833" y="251"/>
                  </a:lnTo>
                  <a:lnTo>
                    <a:pt x="797" y="274"/>
                  </a:lnTo>
                  <a:lnTo>
                    <a:pt x="763" y="297"/>
                  </a:lnTo>
                  <a:lnTo>
                    <a:pt x="728" y="320"/>
                  </a:lnTo>
                  <a:lnTo>
                    <a:pt x="695" y="345"/>
                  </a:lnTo>
                  <a:lnTo>
                    <a:pt x="662" y="370"/>
                  </a:lnTo>
                  <a:lnTo>
                    <a:pt x="630" y="397"/>
                  </a:lnTo>
                  <a:lnTo>
                    <a:pt x="598" y="424"/>
                  </a:lnTo>
                  <a:lnTo>
                    <a:pt x="567" y="451"/>
                  </a:lnTo>
                  <a:lnTo>
                    <a:pt x="536" y="479"/>
                  </a:lnTo>
                  <a:lnTo>
                    <a:pt x="507" y="509"/>
                  </a:lnTo>
                  <a:lnTo>
                    <a:pt x="478" y="539"/>
                  </a:lnTo>
                  <a:lnTo>
                    <a:pt x="450" y="568"/>
                  </a:lnTo>
                  <a:lnTo>
                    <a:pt x="422" y="600"/>
                  </a:lnTo>
                  <a:lnTo>
                    <a:pt x="395" y="632"/>
                  </a:lnTo>
                  <a:lnTo>
                    <a:pt x="369" y="664"/>
                  </a:lnTo>
                  <a:lnTo>
                    <a:pt x="344" y="697"/>
                  </a:lnTo>
                  <a:lnTo>
                    <a:pt x="319" y="731"/>
                  </a:lnTo>
                  <a:lnTo>
                    <a:pt x="296" y="765"/>
                  </a:lnTo>
                  <a:lnTo>
                    <a:pt x="273" y="800"/>
                  </a:lnTo>
                  <a:lnTo>
                    <a:pt x="250" y="835"/>
                  </a:lnTo>
                  <a:lnTo>
                    <a:pt x="229" y="871"/>
                  </a:lnTo>
                  <a:lnTo>
                    <a:pt x="209" y="909"/>
                  </a:lnTo>
                  <a:lnTo>
                    <a:pt x="190" y="945"/>
                  </a:lnTo>
                  <a:lnTo>
                    <a:pt x="171" y="983"/>
                  </a:lnTo>
                  <a:lnTo>
                    <a:pt x="153" y="1021"/>
                  </a:lnTo>
                  <a:lnTo>
                    <a:pt x="136" y="1060"/>
                  </a:lnTo>
                  <a:lnTo>
                    <a:pt x="120" y="1099"/>
                  </a:lnTo>
                  <a:lnTo>
                    <a:pt x="105" y="1138"/>
                  </a:lnTo>
                  <a:lnTo>
                    <a:pt x="91" y="1179"/>
                  </a:lnTo>
                  <a:lnTo>
                    <a:pt x="79" y="1219"/>
                  </a:lnTo>
                  <a:lnTo>
                    <a:pt x="66" y="1260"/>
                  </a:lnTo>
                  <a:lnTo>
                    <a:pt x="55" y="1301"/>
                  </a:lnTo>
                  <a:lnTo>
                    <a:pt x="45" y="1344"/>
                  </a:lnTo>
                  <a:lnTo>
                    <a:pt x="35" y="1385"/>
                  </a:lnTo>
                  <a:lnTo>
                    <a:pt x="28" y="1428"/>
                  </a:lnTo>
                  <a:lnTo>
                    <a:pt x="20" y="1471"/>
                  </a:lnTo>
                  <a:lnTo>
                    <a:pt x="14" y="1514"/>
                  </a:lnTo>
                  <a:lnTo>
                    <a:pt x="10" y="1558"/>
                  </a:lnTo>
                  <a:lnTo>
                    <a:pt x="5" y="1601"/>
                  </a:lnTo>
                  <a:lnTo>
                    <a:pt x="2" y="1646"/>
                  </a:lnTo>
                  <a:lnTo>
                    <a:pt x="1" y="1690"/>
                  </a:lnTo>
                  <a:lnTo>
                    <a:pt x="0" y="1735"/>
                  </a:lnTo>
                  <a:lnTo>
                    <a:pt x="1" y="1773"/>
                  </a:lnTo>
                  <a:lnTo>
                    <a:pt x="2" y="1813"/>
                  </a:lnTo>
                  <a:lnTo>
                    <a:pt x="4" y="1851"/>
                  </a:lnTo>
                  <a:lnTo>
                    <a:pt x="7" y="1889"/>
                  </a:lnTo>
                  <a:lnTo>
                    <a:pt x="11" y="1928"/>
                  </a:lnTo>
                  <a:lnTo>
                    <a:pt x="15" y="1965"/>
                  </a:lnTo>
                  <a:lnTo>
                    <a:pt x="21" y="2002"/>
                  </a:lnTo>
                  <a:lnTo>
                    <a:pt x="27" y="2039"/>
                  </a:lnTo>
                  <a:lnTo>
                    <a:pt x="34" y="2077"/>
                  </a:lnTo>
                  <a:lnTo>
                    <a:pt x="41" y="2114"/>
                  </a:lnTo>
                  <a:lnTo>
                    <a:pt x="50" y="2150"/>
                  </a:lnTo>
                  <a:lnTo>
                    <a:pt x="59" y="2186"/>
                  </a:lnTo>
                  <a:lnTo>
                    <a:pt x="69" y="2221"/>
                  </a:lnTo>
                  <a:lnTo>
                    <a:pt x="80" y="2257"/>
                  </a:lnTo>
                  <a:lnTo>
                    <a:pt x="91" y="2292"/>
                  </a:lnTo>
                  <a:lnTo>
                    <a:pt x="104" y="2327"/>
                  </a:lnTo>
                  <a:lnTo>
                    <a:pt x="117" y="2362"/>
                  </a:lnTo>
                  <a:lnTo>
                    <a:pt x="130" y="2396"/>
                  </a:lnTo>
                  <a:lnTo>
                    <a:pt x="144" y="2430"/>
                  </a:lnTo>
                  <a:lnTo>
                    <a:pt x="159" y="2463"/>
                  </a:lnTo>
                  <a:lnTo>
                    <a:pt x="175" y="2496"/>
                  </a:lnTo>
                  <a:lnTo>
                    <a:pt x="192" y="2529"/>
                  </a:lnTo>
                  <a:lnTo>
                    <a:pt x="209" y="2561"/>
                  </a:lnTo>
                  <a:lnTo>
                    <a:pt x="226" y="2592"/>
                  </a:lnTo>
                  <a:lnTo>
                    <a:pt x="244" y="2623"/>
                  </a:lnTo>
                  <a:lnTo>
                    <a:pt x="263" y="2655"/>
                  </a:lnTo>
                  <a:lnTo>
                    <a:pt x="283" y="2685"/>
                  </a:lnTo>
                  <a:lnTo>
                    <a:pt x="303" y="2716"/>
                  </a:lnTo>
                  <a:lnTo>
                    <a:pt x="323" y="2745"/>
                  </a:lnTo>
                  <a:lnTo>
                    <a:pt x="345" y="2774"/>
                  </a:lnTo>
                  <a:lnTo>
                    <a:pt x="367" y="2803"/>
                  </a:lnTo>
                  <a:lnTo>
                    <a:pt x="389" y="2831"/>
                  </a:lnTo>
                  <a:lnTo>
                    <a:pt x="412" y="2859"/>
                  </a:lnTo>
                  <a:lnTo>
                    <a:pt x="436" y="2886"/>
                  </a:lnTo>
                  <a:lnTo>
                    <a:pt x="460" y="2913"/>
                  </a:lnTo>
                  <a:lnTo>
                    <a:pt x="486" y="2939"/>
                  </a:lnTo>
                  <a:lnTo>
                    <a:pt x="511" y="2965"/>
                  </a:lnTo>
                  <a:lnTo>
                    <a:pt x="536" y="2990"/>
                  </a:lnTo>
                  <a:lnTo>
                    <a:pt x="563" y="3015"/>
                  </a:lnTo>
                  <a:lnTo>
                    <a:pt x="589" y="3039"/>
                  </a:lnTo>
                  <a:lnTo>
                    <a:pt x="617" y="3063"/>
                  </a:lnTo>
                  <a:lnTo>
                    <a:pt x="645" y="3086"/>
                  </a:lnTo>
                  <a:lnTo>
                    <a:pt x="673" y="3108"/>
                  </a:lnTo>
                  <a:lnTo>
                    <a:pt x="702" y="3130"/>
                  </a:lnTo>
                  <a:lnTo>
                    <a:pt x="730" y="3151"/>
                  </a:lnTo>
                  <a:lnTo>
                    <a:pt x="760" y="3172"/>
                  </a:lnTo>
                  <a:lnTo>
                    <a:pt x="791" y="3191"/>
                  </a:lnTo>
                  <a:lnTo>
                    <a:pt x="822" y="3211"/>
                  </a:lnTo>
                  <a:lnTo>
                    <a:pt x="852" y="3230"/>
                  </a:lnTo>
                  <a:lnTo>
                    <a:pt x="884" y="3248"/>
                  </a:lnTo>
                  <a:lnTo>
                    <a:pt x="916" y="3266"/>
                  </a:lnTo>
                  <a:lnTo>
                    <a:pt x="948" y="3283"/>
                  </a:lnTo>
                  <a:lnTo>
                    <a:pt x="981" y="3299"/>
                  </a:lnTo>
                  <a:lnTo>
                    <a:pt x="1014" y="3314"/>
                  </a:lnTo>
                  <a:lnTo>
                    <a:pt x="1046" y="3328"/>
                  </a:lnTo>
                  <a:lnTo>
                    <a:pt x="1080" y="3343"/>
                  </a:lnTo>
                  <a:lnTo>
                    <a:pt x="1114" y="3356"/>
                  </a:lnTo>
                  <a:lnTo>
                    <a:pt x="1149" y="3369"/>
                  </a:lnTo>
                  <a:lnTo>
                    <a:pt x="1184" y="3382"/>
                  </a:lnTo>
                  <a:lnTo>
                    <a:pt x="1219" y="3392"/>
                  </a:lnTo>
                  <a:lnTo>
                    <a:pt x="1254" y="3403"/>
                  </a:lnTo>
                  <a:lnTo>
                    <a:pt x="1290" y="3412"/>
                  </a:lnTo>
                  <a:lnTo>
                    <a:pt x="1326" y="3422"/>
                  </a:lnTo>
                  <a:lnTo>
                    <a:pt x="1362" y="3431"/>
                  </a:lnTo>
                  <a:lnTo>
                    <a:pt x="1362" y="1873"/>
                  </a:lnTo>
                  <a:lnTo>
                    <a:pt x="1365" y="1847"/>
                  </a:lnTo>
                  <a:lnTo>
                    <a:pt x="1374" y="1821"/>
                  </a:lnTo>
                  <a:lnTo>
                    <a:pt x="1387" y="1798"/>
                  </a:lnTo>
                  <a:lnTo>
                    <a:pt x="1403" y="1778"/>
                  </a:lnTo>
                  <a:lnTo>
                    <a:pt x="1423" y="1761"/>
                  </a:lnTo>
                  <a:lnTo>
                    <a:pt x="1446" y="1748"/>
                  </a:lnTo>
                  <a:lnTo>
                    <a:pt x="1470" y="1739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691" y="1735"/>
                  </a:lnTo>
                  <a:lnTo>
                    <a:pt x="1697" y="1735"/>
                  </a:lnTo>
                  <a:lnTo>
                    <a:pt x="1704" y="1735"/>
                  </a:lnTo>
                  <a:lnTo>
                    <a:pt x="1711" y="1735"/>
                  </a:lnTo>
                  <a:lnTo>
                    <a:pt x="1719" y="1734"/>
                  </a:lnTo>
                  <a:lnTo>
                    <a:pt x="1723" y="1733"/>
                  </a:lnTo>
                  <a:lnTo>
                    <a:pt x="1727" y="1732"/>
                  </a:lnTo>
                  <a:lnTo>
                    <a:pt x="1730" y="1729"/>
                  </a:lnTo>
                  <a:lnTo>
                    <a:pt x="1732" y="1727"/>
                  </a:lnTo>
                  <a:lnTo>
                    <a:pt x="1733" y="1724"/>
                  </a:lnTo>
                  <a:lnTo>
                    <a:pt x="1734" y="1720"/>
                  </a:lnTo>
                  <a:lnTo>
                    <a:pt x="1734" y="1717"/>
                  </a:lnTo>
                  <a:lnTo>
                    <a:pt x="1735" y="0"/>
                  </a:lnTo>
                  <a:close/>
                  <a:moveTo>
                    <a:pt x="1398" y="1431"/>
                  </a:moveTo>
                  <a:lnTo>
                    <a:pt x="1376" y="1430"/>
                  </a:lnTo>
                  <a:lnTo>
                    <a:pt x="1355" y="1427"/>
                  </a:lnTo>
                  <a:lnTo>
                    <a:pt x="1334" y="1421"/>
                  </a:lnTo>
                  <a:lnTo>
                    <a:pt x="1314" y="1414"/>
                  </a:lnTo>
                  <a:lnTo>
                    <a:pt x="1296" y="1404"/>
                  </a:lnTo>
                  <a:lnTo>
                    <a:pt x="1277" y="1394"/>
                  </a:lnTo>
                  <a:lnTo>
                    <a:pt x="1269" y="1387"/>
                  </a:lnTo>
                  <a:lnTo>
                    <a:pt x="1261" y="1381"/>
                  </a:lnTo>
                  <a:lnTo>
                    <a:pt x="1253" y="1375"/>
                  </a:lnTo>
                  <a:lnTo>
                    <a:pt x="1246" y="1367"/>
                  </a:lnTo>
                  <a:lnTo>
                    <a:pt x="1238" y="1360"/>
                  </a:lnTo>
                  <a:lnTo>
                    <a:pt x="1231" y="1352"/>
                  </a:lnTo>
                  <a:lnTo>
                    <a:pt x="1224" y="1344"/>
                  </a:lnTo>
                  <a:lnTo>
                    <a:pt x="1219" y="1335"/>
                  </a:lnTo>
                  <a:lnTo>
                    <a:pt x="1209" y="1317"/>
                  </a:lnTo>
                  <a:lnTo>
                    <a:pt x="1199" y="1298"/>
                  </a:lnTo>
                  <a:lnTo>
                    <a:pt x="1192" y="1279"/>
                  </a:lnTo>
                  <a:lnTo>
                    <a:pt x="1186" y="1258"/>
                  </a:lnTo>
                  <a:lnTo>
                    <a:pt x="1183" y="1236"/>
                  </a:lnTo>
                  <a:lnTo>
                    <a:pt x="1182" y="1214"/>
                  </a:lnTo>
                  <a:lnTo>
                    <a:pt x="1183" y="1192"/>
                  </a:lnTo>
                  <a:lnTo>
                    <a:pt x="1186" y="1170"/>
                  </a:lnTo>
                  <a:lnTo>
                    <a:pt x="1192" y="1149"/>
                  </a:lnTo>
                  <a:lnTo>
                    <a:pt x="1199" y="1130"/>
                  </a:lnTo>
                  <a:lnTo>
                    <a:pt x="1209" y="1111"/>
                  </a:lnTo>
                  <a:lnTo>
                    <a:pt x="1219" y="1093"/>
                  </a:lnTo>
                  <a:lnTo>
                    <a:pt x="1224" y="1084"/>
                  </a:lnTo>
                  <a:lnTo>
                    <a:pt x="1231" y="1076"/>
                  </a:lnTo>
                  <a:lnTo>
                    <a:pt x="1238" y="1068"/>
                  </a:lnTo>
                  <a:lnTo>
                    <a:pt x="1246" y="1061"/>
                  </a:lnTo>
                  <a:lnTo>
                    <a:pt x="1253" y="1053"/>
                  </a:lnTo>
                  <a:lnTo>
                    <a:pt x="1261" y="1047"/>
                  </a:lnTo>
                  <a:lnTo>
                    <a:pt x="1269" y="1041"/>
                  </a:lnTo>
                  <a:lnTo>
                    <a:pt x="1277" y="1034"/>
                  </a:lnTo>
                  <a:lnTo>
                    <a:pt x="1296" y="1024"/>
                  </a:lnTo>
                  <a:lnTo>
                    <a:pt x="1314" y="1014"/>
                  </a:lnTo>
                  <a:lnTo>
                    <a:pt x="1334" y="1007"/>
                  </a:lnTo>
                  <a:lnTo>
                    <a:pt x="1355" y="1001"/>
                  </a:lnTo>
                  <a:lnTo>
                    <a:pt x="1376" y="998"/>
                  </a:lnTo>
                  <a:lnTo>
                    <a:pt x="1398" y="997"/>
                  </a:lnTo>
                  <a:lnTo>
                    <a:pt x="1421" y="998"/>
                  </a:lnTo>
                  <a:lnTo>
                    <a:pt x="1442" y="1001"/>
                  </a:lnTo>
                  <a:lnTo>
                    <a:pt x="1462" y="1007"/>
                  </a:lnTo>
                  <a:lnTo>
                    <a:pt x="1482" y="1014"/>
                  </a:lnTo>
                  <a:lnTo>
                    <a:pt x="1501" y="1024"/>
                  </a:lnTo>
                  <a:lnTo>
                    <a:pt x="1519" y="1034"/>
                  </a:lnTo>
                  <a:lnTo>
                    <a:pt x="1528" y="1041"/>
                  </a:lnTo>
                  <a:lnTo>
                    <a:pt x="1535" y="1047"/>
                  </a:lnTo>
                  <a:lnTo>
                    <a:pt x="1544" y="1053"/>
                  </a:lnTo>
                  <a:lnTo>
                    <a:pt x="1551" y="1061"/>
                  </a:lnTo>
                  <a:lnTo>
                    <a:pt x="1558" y="1068"/>
                  </a:lnTo>
                  <a:lnTo>
                    <a:pt x="1565" y="1076"/>
                  </a:lnTo>
                  <a:lnTo>
                    <a:pt x="1571" y="1084"/>
                  </a:lnTo>
                  <a:lnTo>
                    <a:pt x="1578" y="1093"/>
                  </a:lnTo>
                  <a:lnTo>
                    <a:pt x="1588" y="1111"/>
                  </a:lnTo>
                  <a:lnTo>
                    <a:pt x="1598" y="1130"/>
                  </a:lnTo>
                  <a:lnTo>
                    <a:pt x="1604" y="1149"/>
                  </a:lnTo>
                  <a:lnTo>
                    <a:pt x="1609" y="1170"/>
                  </a:lnTo>
                  <a:lnTo>
                    <a:pt x="1614" y="1192"/>
                  </a:lnTo>
                  <a:lnTo>
                    <a:pt x="1615" y="1214"/>
                  </a:lnTo>
                  <a:lnTo>
                    <a:pt x="1614" y="1236"/>
                  </a:lnTo>
                  <a:lnTo>
                    <a:pt x="1609" y="1258"/>
                  </a:lnTo>
                  <a:lnTo>
                    <a:pt x="1604" y="1279"/>
                  </a:lnTo>
                  <a:lnTo>
                    <a:pt x="1598" y="1298"/>
                  </a:lnTo>
                  <a:lnTo>
                    <a:pt x="1588" y="1317"/>
                  </a:lnTo>
                  <a:lnTo>
                    <a:pt x="1578" y="1335"/>
                  </a:lnTo>
                  <a:lnTo>
                    <a:pt x="1571" y="1344"/>
                  </a:lnTo>
                  <a:lnTo>
                    <a:pt x="1565" y="1352"/>
                  </a:lnTo>
                  <a:lnTo>
                    <a:pt x="1558" y="1360"/>
                  </a:lnTo>
                  <a:lnTo>
                    <a:pt x="1551" y="1367"/>
                  </a:lnTo>
                  <a:lnTo>
                    <a:pt x="1544" y="1375"/>
                  </a:lnTo>
                  <a:lnTo>
                    <a:pt x="1535" y="1381"/>
                  </a:lnTo>
                  <a:lnTo>
                    <a:pt x="1528" y="1387"/>
                  </a:lnTo>
                  <a:lnTo>
                    <a:pt x="1519" y="1394"/>
                  </a:lnTo>
                  <a:lnTo>
                    <a:pt x="1501" y="1404"/>
                  </a:lnTo>
                  <a:lnTo>
                    <a:pt x="1482" y="1414"/>
                  </a:lnTo>
                  <a:lnTo>
                    <a:pt x="1462" y="1421"/>
                  </a:lnTo>
                  <a:lnTo>
                    <a:pt x="1442" y="1427"/>
                  </a:lnTo>
                  <a:lnTo>
                    <a:pt x="1421" y="1430"/>
                  </a:lnTo>
                  <a:lnTo>
                    <a:pt x="1398" y="143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983">
                <a:defRPr/>
              </a:pPr>
              <a:endParaRPr lang="ru-RU" sz="1350" kern="0" dirty="0" smtClean="0">
                <a:solidFill>
                  <a:prstClr val="black"/>
                </a:solidFill>
                <a:sym typeface="PF DinDisplay Pro" panose="02000506030000020004" pitchFamily="2" charset="0"/>
              </a:endParaRPr>
            </a:p>
          </p:txBody>
        </p:sp>
      </p:grpSp>
      <p:sp>
        <p:nvSpPr>
          <p:cNvPr id="20" name="Равнобедренный треугольник 6"/>
          <p:cNvSpPr/>
          <p:nvPr userDrawn="1"/>
        </p:nvSpPr>
        <p:spPr bwMode="auto">
          <a:xfrm rot="5400000">
            <a:off x="-50181" y="2136224"/>
            <a:ext cx="405125" cy="332414"/>
          </a:xfrm>
          <a:prstGeom prst="triangle">
            <a:avLst/>
          </a:prstGeom>
          <a:solidFill>
            <a:srgbClr val="57068C"/>
          </a:solidFill>
          <a:ln w="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0" cap="flat" cmpd="sng" algn="ctr">
                <a:solidFill>
                  <a:schemeClr val="tx2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txBody>
          <a:bodyPr rot="0" spcFirstLastPara="0" vertOverflow="overflow" horzOverflow="overflow" vert="horz" wrap="square" lIns="68601" tIns="34301" rIns="68601" bIns="343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983"/>
            <a:endParaRPr lang="ru-RU" sz="1350" dirty="0">
              <a:solidFill>
                <a:srgbClr val="000000"/>
              </a:solidFill>
              <a:sym typeface="PF DinDisplay Pro" panose="020005060300000200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686115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7" y="1192"/>
          <a:ext cx="1465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7" y="1192"/>
                        <a:ext cx="1465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2031" y="1131649"/>
            <a:ext cx="8301046" cy="3443563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4895655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7" y="1192"/>
          <a:ext cx="1465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7" y="1192"/>
                        <a:ext cx="1465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463018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4415581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sz="4000">
                <a:latin typeface="Arial Black" panose="020B0A04020102020204" pitchFamily="34" charset="0"/>
              </a:defRPr>
            </a:lvl1pPr>
          </a:lstStyle>
          <a:p>
            <a:r>
              <a:rPr lang="ru-RU" dirty="0" smtClean="0"/>
              <a:t>Agenda (40pt)</a:t>
            </a:r>
            <a:endParaRPr lang="ru-RU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292100" y="1385888"/>
            <a:ext cx="8564400" cy="2967037"/>
          </a:xfrm>
        </p:spPr>
        <p:txBody>
          <a:bodyPr/>
          <a:lstStyle>
            <a:lvl1pPr marL="342900" marR="0" indent="-34290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0"/>
              </a:spcAft>
              <a:buClr>
                <a:schemeClr val="accent1"/>
              </a:buClr>
              <a:buSzTx/>
              <a:buFont typeface="+mj-lt"/>
              <a:buAutoNum type="arabicPeriod"/>
              <a:tabLst/>
              <a:defRPr sz="2000" baseline="0"/>
            </a:lvl1pPr>
          </a:lstStyle>
          <a:p>
            <a:pPr lvl="0"/>
            <a:r>
              <a:rPr lang="ru-RU" dirty="0" smtClean="0"/>
              <a:t>Lorem ipsum Ed ut perspiciatis unde omnis iste na (20pt)</a:t>
            </a:r>
          </a:p>
          <a:p>
            <a:pPr lvl="0"/>
            <a:r>
              <a:rPr lang="ru-RU" dirty="0" smtClean="0"/>
              <a:t>Lorem ipsum Ed ut perspiciatis unde omnis iste na</a:t>
            </a:r>
          </a:p>
          <a:p>
            <a:pPr lvl="0"/>
            <a:r>
              <a:rPr lang="ru-RU" dirty="0" smtClean="0"/>
              <a:t>Lorem ipsum Ed ut perspiciatis unde omnis iste na</a:t>
            </a:r>
          </a:p>
          <a:p>
            <a:pPr lvl="0"/>
            <a:r>
              <a:rPr lang="ru-RU" dirty="0" smtClean="0"/>
              <a:t>Lorem ipsum Ed ut perspiciatis unde omnis iste na</a:t>
            </a:r>
          </a:p>
          <a:p>
            <a:pPr lvl="0"/>
            <a:r>
              <a:rPr lang="ru-RU" dirty="0" smtClean="0"/>
              <a:t>Lorem ipsum Ed ut perspiciatis unde omnis iste na</a:t>
            </a:r>
          </a:p>
          <a:p>
            <a:pPr lvl="0"/>
            <a:r>
              <a:rPr lang="ru-RU" dirty="0" smtClean="0"/>
              <a:t>Lorem ipsum Ed ut perspiciatis unde omnis iste na</a:t>
            </a:r>
          </a:p>
          <a:p>
            <a:pPr lvl="0"/>
            <a:r>
              <a:rPr lang="ru-RU" dirty="0" smtClean="0"/>
              <a:t>Lorem ipsum Ed ut perspiciatis unde omnis iste na</a:t>
            </a:r>
          </a:p>
          <a:p>
            <a:pPr lvl="0"/>
            <a:r>
              <a:rPr lang="ru-RU" dirty="0" smtClean="0"/>
              <a:t>Lorem ipsum Ed ut perspiciatis unde omnis iste na</a:t>
            </a:r>
          </a:p>
        </p:txBody>
      </p:sp>
    </p:spTree>
    <p:extLst>
      <p:ext uri="{BB962C8B-B14F-4D97-AF65-F5344CB8AC3E}">
        <p14:creationId xmlns:p14="http://schemas.microsoft.com/office/powerpoint/2010/main" val="304741501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 xmlns="">
        <p15:guide id="1" orient="horz" pos="873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91600" y="1908000"/>
            <a:ext cx="8564400" cy="1148296"/>
          </a:xfrm>
        </p:spPr>
        <p:txBody>
          <a:bodyPr/>
          <a:lstStyle>
            <a:lvl1pPr>
              <a:defRPr sz="4000" b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ru-RU" dirty="0" smtClean="0"/>
              <a:t>Headline example, </a:t>
            </a:r>
            <a:br>
              <a:rPr lang="ru-RU" dirty="0" smtClean="0"/>
            </a:br>
            <a:r>
              <a:rPr lang="ru-RU" dirty="0" smtClean="0"/>
              <a:t>in two lines. (40pt)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EB3B23D-4346-4B37-B4C1-6F25CC3265AE}" type="datetime1">
              <a:rPr lang="ru-RU" smtClean="0"/>
              <a:t>30.04.2019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92100" y="288925"/>
            <a:ext cx="1041400" cy="1326515"/>
          </a:xfrm>
        </p:spPr>
        <p:txBody>
          <a:bodyPr/>
          <a:lstStyle>
            <a:lvl1pPr>
              <a:defRPr sz="12000">
                <a:latin typeface="Arial Black" panose="020B0A04020102020204" pitchFamily="34" charset="0"/>
              </a:defRPr>
            </a:lvl1pPr>
          </a:lstStyle>
          <a:p>
            <a:pPr lvl="0"/>
            <a:r>
              <a:rPr lang="ru-RU" dirty="0" smtClean="0"/>
              <a:t>#</a:t>
            </a:r>
            <a:endParaRPr lang="ru-RU" dirty="0"/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8673305" y="4914900"/>
            <a:ext cx="183358" cy="52388"/>
            <a:chOff x="8673305" y="4914900"/>
            <a:chExt cx="183358" cy="52388"/>
          </a:xfrm>
        </p:grpSpPr>
        <p:sp>
          <p:nvSpPr>
            <p:cNvPr id="9" name="Ellipse 8"/>
            <p:cNvSpPr/>
            <p:nvPr userDrawn="1"/>
          </p:nvSpPr>
          <p:spPr>
            <a:xfrm>
              <a:off x="8804275" y="4914900"/>
              <a:ext cx="52388" cy="523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  <p:sp>
          <p:nvSpPr>
            <p:cNvPr id="10" name="Ellipse 9"/>
            <p:cNvSpPr/>
            <p:nvPr userDrawn="1"/>
          </p:nvSpPr>
          <p:spPr>
            <a:xfrm>
              <a:off x="8738790" y="4914900"/>
              <a:ext cx="52388" cy="5238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  <p:sp>
          <p:nvSpPr>
            <p:cNvPr id="11" name="Ellipse 10"/>
            <p:cNvSpPr/>
            <p:nvPr userDrawn="1"/>
          </p:nvSpPr>
          <p:spPr>
            <a:xfrm>
              <a:off x="8673305" y="4914900"/>
              <a:ext cx="52388" cy="5238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8774934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green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91600" y="1908000"/>
            <a:ext cx="8564400" cy="1148296"/>
          </a:xfrm>
        </p:spPr>
        <p:txBody>
          <a:bodyPr/>
          <a:lstStyle>
            <a:lvl1pPr>
              <a:defRPr sz="4000" b="0">
                <a:solidFill>
                  <a:schemeClr val="accent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ru-RU" dirty="0" smtClean="0"/>
              <a:t>Headline example, </a:t>
            </a:r>
            <a:br>
              <a:rPr lang="ru-RU" dirty="0" smtClean="0"/>
            </a:br>
            <a:r>
              <a:rPr lang="ru-RU" dirty="0" smtClean="0"/>
              <a:t>in two lines. (40pt) 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EB3B23D-4346-4B37-B4C1-6F25CC3265AE}" type="datetime1">
              <a:rPr lang="ru-RU" smtClean="0"/>
              <a:pPr/>
              <a:t>30.04.2019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92100" y="288925"/>
            <a:ext cx="1041400" cy="1326515"/>
          </a:xfrm>
        </p:spPr>
        <p:txBody>
          <a:bodyPr/>
          <a:lstStyle>
            <a:lvl1pPr>
              <a:defRPr sz="12000">
                <a:latin typeface="Arial Black" panose="020B0A04020102020204" pitchFamily="34" charset="0"/>
              </a:defRPr>
            </a:lvl1pPr>
          </a:lstStyle>
          <a:p>
            <a:pPr lvl="0"/>
            <a:r>
              <a:rPr lang="ru-RU" dirty="0" smtClean="0"/>
              <a:t>#</a:t>
            </a:r>
            <a:endParaRPr lang="ru-RU" dirty="0"/>
          </a:p>
        </p:txBody>
      </p:sp>
      <p:grpSp>
        <p:nvGrpSpPr>
          <p:cNvPr id="12" name="Gruppieren 11"/>
          <p:cNvGrpSpPr/>
          <p:nvPr userDrawn="1"/>
        </p:nvGrpSpPr>
        <p:grpSpPr>
          <a:xfrm>
            <a:off x="8673305" y="4914900"/>
            <a:ext cx="183358" cy="52388"/>
            <a:chOff x="8673305" y="4914900"/>
            <a:chExt cx="183358" cy="52388"/>
          </a:xfrm>
        </p:grpSpPr>
        <p:sp>
          <p:nvSpPr>
            <p:cNvPr id="13" name="Ellipse 12"/>
            <p:cNvSpPr/>
            <p:nvPr userDrawn="1"/>
          </p:nvSpPr>
          <p:spPr>
            <a:xfrm>
              <a:off x="8804275" y="4914900"/>
              <a:ext cx="52388" cy="5238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  <p:sp>
          <p:nvSpPr>
            <p:cNvPr id="14" name="Ellipse 13"/>
            <p:cNvSpPr/>
            <p:nvPr userDrawn="1"/>
          </p:nvSpPr>
          <p:spPr>
            <a:xfrm>
              <a:off x="8738790" y="4914900"/>
              <a:ext cx="52388" cy="5238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  <p:sp>
          <p:nvSpPr>
            <p:cNvPr id="15" name="Ellipse 14"/>
            <p:cNvSpPr/>
            <p:nvPr userDrawn="1"/>
          </p:nvSpPr>
          <p:spPr>
            <a:xfrm>
              <a:off x="8673305" y="4914900"/>
              <a:ext cx="52388" cy="5238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308588737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violet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91600" y="1908000"/>
            <a:ext cx="8564400" cy="1148296"/>
          </a:xfrm>
        </p:spPr>
        <p:txBody>
          <a:bodyPr/>
          <a:lstStyle>
            <a:lvl1pPr>
              <a:defRPr sz="4000" b="0">
                <a:solidFill>
                  <a:schemeClr val="bg1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ru-RU" dirty="0" smtClean="0"/>
              <a:t>Headline example, </a:t>
            </a:r>
            <a:br>
              <a:rPr lang="ru-RU" dirty="0" smtClean="0"/>
            </a:br>
            <a:r>
              <a:rPr lang="ru-RU" dirty="0" smtClean="0"/>
              <a:t>in two lines. (40pt)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EB3B23D-4346-4B37-B4C1-6F25CC3265AE}" type="datetime1">
              <a:rPr lang="ru-RU" smtClean="0"/>
              <a:t>30.04.2019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92100" y="288925"/>
            <a:ext cx="1041400" cy="1326515"/>
          </a:xfrm>
        </p:spPr>
        <p:txBody>
          <a:bodyPr/>
          <a:lstStyle>
            <a:lvl1pPr>
              <a:defRPr sz="12000">
                <a:latin typeface="Arial Black" panose="020B0A04020102020204" pitchFamily="34" charset="0"/>
              </a:defRPr>
            </a:lvl1pPr>
          </a:lstStyle>
          <a:p>
            <a:pPr lvl="0"/>
            <a:r>
              <a:rPr lang="ru-RU" dirty="0" smtClean="0"/>
              <a:t>#</a:t>
            </a:r>
            <a:endParaRPr lang="ru-RU" dirty="0"/>
          </a:p>
        </p:txBody>
      </p:sp>
      <p:grpSp>
        <p:nvGrpSpPr>
          <p:cNvPr id="8" name="Gruppieren 7"/>
          <p:cNvGrpSpPr/>
          <p:nvPr userDrawn="1"/>
        </p:nvGrpSpPr>
        <p:grpSpPr>
          <a:xfrm>
            <a:off x="8673305" y="4914900"/>
            <a:ext cx="183358" cy="52388"/>
            <a:chOff x="8673305" y="4914900"/>
            <a:chExt cx="183358" cy="52388"/>
          </a:xfrm>
        </p:grpSpPr>
        <p:sp>
          <p:nvSpPr>
            <p:cNvPr id="9" name="Ellipse 8"/>
            <p:cNvSpPr/>
            <p:nvPr userDrawn="1"/>
          </p:nvSpPr>
          <p:spPr>
            <a:xfrm>
              <a:off x="8804275" y="4914900"/>
              <a:ext cx="52388" cy="5238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  <p:sp>
          <p:nvSpPr>
            <p:cNvPr id="10" name="Ellipse 9"/>
            <p:cNvSpPr/>
            <p:nvPr userDrawn="1"/>
          </p:nvSpPr>
          <p:spPr>
            <a:xfrm>
              <a:off x="8738790" y="4914900"/>
              <a:ext cx="52388" cy="5238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  <p:sp>
          <p:nvSpPr>
            <p:cNvPr id="11" name="Ellipse 10"/>
            <p:cNvSpPr/>
            <p:nvPr userDrawn="1"/>
          </p:nvSpPr>
          <p:spPr>
            <a:xfrm>
              <a:off x="8673305" y="4914900"/>
              <a:ext cx="52388" cy="5238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3354879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pter violet Pr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91600" y="1908000"/>
            <a:ext cx="8564400" cy="1148296"/>
          </a:xfrm>
        </p:spPr>
        <p:txBody>
          <a:bodyPr/>
          <a:lstStyle>
            <a:lvl1pPr>
              <a:defRPr sz="4000" b="0">
                <a:solidFill>
                  <a:schemeClr val="accent2"/>
                </a:solidFill>
                <a:latin typeface="Arial Black" panose="020B0A04020102020204" pitchFamily="34" charset="0"/>
              </a:defRPr>
            </a:lvl1pPr>
          </a:lstStyle>
          <a:p>
            <a:r>
              <a:rPr lang="ru-RU" dirty="0" smtClean="0"/>
              <a:t>Headline example, </a:t>
            </a:r>
            <a:br>
              <a:rPr lang="ru-RU" dirty="0" smtClean="0"/>
            </a:br>
            <a:r>
              <a:rPr lang="ru-RU" dirty="0" smtClean="0"/>
              <a:t>in two lines. (40pt)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EB3B23D-4346-4B37-B4C1-6F25CC3265AE}" type="datetime1">
              <a:rPr lang="ru-RU" smtClean="0"/>
              <a:pPr/>
              <a:t>30.04.2019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292100" y="288925"/>
            <a:ext cx="1041400" cy="1326515"/>
          </a:xfrm>
        </p:spPr>
        <p:txBody>
          <a:bodyPr/>
          <a:lstStyle>
            <a:lvl1pPr>
              <a:defRPr sz="12000">
                <a:latin typeface="Arial Black" panose="020B0A04020102020204" pitchFamily="34" charset="0"/>
              </a:defRPr>
            </a:lvl1pPr>
          </a:lstStyle>
          <a:p>
            <a:pPr lvl="0"/>
            <a:r>
              <a:rPr lang="ru-RU" dirty="0" smtClean="0"/>
              <a:t>#</a:t>
            </a:r>
            <a:endParaRPr lang="ru-RU" dirty="0"/>
          </a:p>
        </p:txBody>
      </p:sp>
      <p:grpSp>
        <p:nvGrpSpPr>
          <p:cNvPr id="12" name="Gruppieren 11"/>
          <p:cNvGrpSpPr/>
          <p:nvPr userDrawn="1"/>
        </p:nvGrpSpPr>
        <p:grpSpPr>
          <a:xfrm>
            <a:off x="8673305" y="4914900"/>
            <a:ext cx="183358" cy="52388"/>
            <a:chOff x="8673305" y="4914900"/>
            <a:chExt cx="183358" cy="52388"/>
          </a:xfrm>
        </p:grpSpPr>
        <p:sp>
          <p:nvSpPr>
            <p:cNvPr id="13" name="Ellipse 12"/>
            <p:cNvSpPr/>
            <p:nvPr userDrawn="1"/>
          </p:nvSpPr>
          <p:spPr>
            <a:xfrm>
              <a:off x="8804275" y="4914900"/>
              <a:ext cx="52388" cy="5238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  <p:sp>
          <p:nvSpPr>
            <p:cNvPr id="14" name="Ellipse 13"/>
            <p:cNvSpPr/>
            <p:nvPr userDrawn="1"/>
          </p:nvSpPr>
          <p:spPr>
            <a:xfrm>
              <a:off x="8738790" y="4914900"/>
              <a:ext cx="52388" cy="5238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  <p:sp>
          <p:nvSpPr>
            <p:cNvPr id="15" name="Ellipse 14"/>
            <p:cNvSpPr/>
            <p:nvPr userDrawn="1"/>
          </p:nvSpPr>
          <p:spPr>
            <a:xfrm>
              <a:off x="8673305" y="4914900"/>
              <a:ext cx="52388" cy="5238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39386924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Ful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Headline example (20pt), </a:t>
            </a:r>
            <a:br>
              <a:rPr lang="ru-RU" dirty="0" smtClean="0"/>
            </a:br>
            <a:r>
              <a:rPr lang="ru-RU" dirty="0" smtClean="0"/>
              <a:t>in two lines. 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B3F40-B636-4A54-94B5-10F6B2452C89}" type="datetime1">
              <a:rPr lang="ru-RU" smtClean="0"/>
              <a:t>30.04.2019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292100" y="1276350"/>
            <a:ext cx="8564400" cy="3077538"/>
          </a:xfrm>
        </p:spPr>
        <p:txBody>
          <a:bodyPr/>
          <a:lstStyle/>
          <a:p>
            <a:pPr lvl="0"/>
            <a:r>
              <a:rPr lang="ru-RU" noProof="0" dirty="0" smtClean="0"/>
              <a:t>Edit flowing text level 12pt to (16pt)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  <a:p>
            <a:pPr lvl="3"/>
            <a:r>
              <a:rPr lang="ru-RU" noProof="0" dirty="0" smtClean="0"/>
              <a:t>Fourth level</a:t>
            </a:r>
          </a:p>
          <a:p>
            <a:pPr lvl="4"/>
            <a:r>
              <a:rPr lang="ru-RU" noProof="0" dirty="0" smtClean="0"/>
              <a:t>Fifth level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19850318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-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291600" y="252000"/>
            <a:ext cx="8564400" cy="590963"/>
          </a:xfrm>
        </p:spPr>
        <p:txBody>
          <a:bodyPr/>
          <a:lstStyle/>
          <a:p>
            <a:r>
              <a:rPr lang="ru-RU" dirty="0" smtClean="0"/>
              <a:t>Headline example (20pt), </a:t>
            </a:r>
            <a:br>
              <a:rPr lang="ru-RU" dirty="0" smtClean="0"/>
            </a:br>
            <a:r>
              <a:rPr lang="ru-RU" dirty="0" smtClean="0"/>
              <a:t>in two lines. </a:t>
            </a:r>
            <a:endParaRPr lang="ru-R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92E68E-506B-4910-8CEA-231504A24C3C}" type="datetime1">
              <a:rPr lang="ru-RU" smtClean="0"/>
              <a:t>30.04.2019</a:t>
            </a:fld>
            <a:endParaRPr lang="ru-R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Inhaltsplatzhalter 6"/>
          <p:cNvSpPr>
            <a:spLocks noGrp="1"/>
          </p:cNvSpPr>
          <p:nvPr>
            <p:ph sz="quarter" idx="13" hasCustomPrompt="1"/>
          </p:nvPr>
        </p:nvSpPr>
        <p:spPr>
          <a:xfrm>
            <a:off x="292100" y="1275387"/>
            <a:ext cx="4187825" cy="30775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noProof="0" dirty="0" smtClean="0"/>
              <a:t>Edit flowing text level 12pt to (16pt) to 32pt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  <a:p>
            <a:pPr lvl="3"/>
            <a:r>
              <a:rPr lang="ru-RU" noProof="0" dirty="0" smtClean="0"/>
              <a:t>Fourth level</a:t>
            </a:r>
          </a:p>
          <a:p>
            <a:pPr lvl="4"/>
            <a:r>
              <a:rPr lang="ru-RU" noProof="0" dirty="0" smtClean="0"/>
              <a:t>Fifth level</a:t>
            </a:r>
            <a:endParaRPr lang="ru-RU" noProof="0" dirty="0"/>
          </a:p>
        </p:txBody>
      </p:sp>
      <p:sp>
        <p:nvSpPr>
          <p:cNvPr id="8" name="Inhaltsplatzhalter 6"/>
          <p:cNvSpPr>
            <a:spLocks noGrp="1"/>
          </p:cNvSpPr>
          <p:nvPr>
            <p:ph sz="quarter" idx="14" hasCustomPrompt="1"/>
          </p:nvPr>
        </p:nvSpPr>
        <p:spPr>
          <a:xfrm>
            <a:off x="4668175" y="1276350"/>
            <a:ext cx="4187825" cy="307753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noProof="0" dirty="0" smtClean="0"/>
              <a:t>Edit flowing text level 12pt to (16pt) to 32 pt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  <a:p>
            <a:pPr lvl="3"/>
            <a:r>
              <a:rPr lang="ru-RU" noProof="0" dirty="0" smtClean="0"/>
              <a:t>Fourth level</a:t>
            </a:r>
          </a:p>
          <a:p>
            <a:pPr lvl="4"/>
            <a:r>
              <a:rPr lang="ru-RU" noProof="0" dirty="0" smtClean="0"/>
              <a:t>Fifth level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25087455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3" Type="http://schemas.openxmlformats.org/officeDocument/2006/relationships/slideLayout" Target="../slideLayouts/slideLayout24.xml"/><Relationship Id="rId7" Type="http://schemas.openxmlformats.org/officeDocument/2006/relationships/tags" Target="../tags/tag6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vmlDrawing" Target="../drawings/vmlDrawing4.vml"/><Relationship Id="rId5" Type="http://schemas.openxmlformats.org/officeDocument/2006/relationships/theme" Target="../theme/theme2.xml"/><Relationship Id="rId10" Type="http://schemas.openxmlformats.org/officeDocument/2006/relationships/image" Target="../media/image3.emf"/><Relationship Id="rId4" Type="http://schemas.openxmlformats.org/officeDocument/2006/relationships/slideLayout" Target="../slideLayouts/slideLayout25.xml"/><Relationship Id="rId9" Type="http://schemas.openxmlformats.org/officeDocument/2006/relationships/oleObject" Target="../embeddings/oleObject4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11.xml"/><Relationship Id="rId3" Type="http://schemas.openxmlformats.org/officeDocument/2006/relationships/slideLayout" Target="../slideLayouts/slideLayout28.xml"/><Relationship Id="rId7" Type="http://schemas.openxmlformats.org/officeDocument/2006/relationships/tags" Target="../tags/tag10.xml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vmlDrawing" Target="../drawings/vmlDrawing7.vml"/><Relationship Id="rId5" Type="http://schemas.openxmlformats.org/officeDocument/2006/relationships/theme" Target="../theme/theme3.xml"/><Relationship Id="rId10" Type="http://schemas.openxmlformats.org/officeDocument/2006/relationships/image" Target="../media/image3.emf"/><Relationship Id="rId4" Type="http://schemas.openxmlformats.org/officeDocument/2006/relationships/slideLayout" Target="../slideLayouts/slideLayout29.xml"/><Relationship Id="rId9" Type="http://schemas.openxmlformats.org/officeDocument/2006/relationships/oleObject" Target="../embeddings/oleObject7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1748517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" name="think-cell Folie" r:id="rId25" imgW="360" imgH="360" progId="TCLayout.ActiveDocument.1">
                  <p:embed/>
                </p:oleObj>
              </mc:Choice>
              <mc:Fallback>
                <p:oleObj name="think-cell Folie" r:id="rId25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elplatzhalter 7"/>
          <p:cNvSpPr>
            <a:spLocks noGrp="1"/>
          </p:cNvSpPr>
          <p:nvPr>
            <p:ph type="title"/>
          </p:nvPr>
        </p:nvSpPr>
        <p:spPr>
          <a:xfrm>
            <a:off x="291600" y="252000"/>
            <a:ext cx="8564400" cy="59096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ru-RU" dirty="0" smtClean="0"/>
              <a:t>Headline example (20pt), Lorem ipsum dolor sit amet, consectetur adipiscing elit ed ut perspiciatis unde omnis iste natus error</a:t>
            </a:r>
            <a:endParaRPr lang="ru-RU" dirty="0"/>
          </a:p>
        </p:txBody>
      </p:sp>
      <p:sp>
        <p:nvSpPr>
          <p:cNvPr id="9" name="Textplatzhalter 8"/>
          <p:cNvSpPr>
            <a:spLocks noGrp="1"/>
          </p:cNvSpPr>
          <p:nvPr>
            <p:ph type="body" idx="1"/>
          </p:nvPr>
        </p:nvSpPr>
        <p:spPr>
          <a:xfrm>
            <a:off x="292894" y="1276550"/>
            <a:ext cx="8563768" cy="3077764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ru-RU" noProof="0" dirty="0" smtClean="0"/>
              <a:t>Edit continuous text level 12pt to (16pt)</a:t>
            </a:r>
          </a:p>
          <a:p>
            <a:pPr lvl="1"/>
            <a:r>
              <a:rPr lang="ru-RU" noProof="0" dirty="0" smtClean="0"/>
              <a:t>Second level</a:t>
            </a:r>
          </a:p>
          <a:p>
            <a:pPr lvl="2"/>
            <a:r>
              <a:rPr lang="ru-RU" noProof="0" dirty="0" smtClean="0"/>
              <a:t>Third level</a:t>
            </a:r>
          </a:p>
          <a:p>
            <a:pPr lvl="3"/>
            <a:r>
              <a:rPr lang="ru-RU" noProof="0" dirty="0" smtClean="0"/>
              <a:t>Fourth level</a:t>
            </a:r>
          </a:p>
          <a:p>
            <a:pPr lvl="4"/>
            <a:r>
              <a:rPr lang="ru-RU" noProof="0" dirty="0" smtClean="0"/>
              <a:t>Fifth level</a:t>
            </a:r>
            <a:endParaRPr lang="ru-RU" noProof="0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2"/>
          </p:nvPr>
        </p:nvSpPr>
        <p:spPr>
          <a:xfrm>
            <a:off x="3206750" y="4786313"/>
            <a:ext cx="786602" cy="1787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fld id="{3012BC6F-014F-4778-8D5B-605537C49C47}" type="datetime1">
              <a:rPr lang="ru-RU" smtClean="0"/>
              <a:t>30.04.2019</a:t>
            </a:fld>
            <a:endParaRPr lang="ru-RU" dirty="0"/>
          </a:p>
        </p:txBody>
      </p:sp>
      <p:sp>
        <p:nvSpPr>
          <p:cNvPr id="11" name="Fußzeilenplatzhalter 10"/>
          <p:cNvSpPr>
            <a:spLocks noGrp="1"/>
          </p:cNvSpPr>
          <p:nvPr>
            <p:ph type="ftr" sz="quarter" idx="3"/>
          </p:nvPr>
        </p:nvSpPr>
        <p:spPr>
          <a:xfrm>
            <a:off x="533400" y="4786313"/>
            <a:ext cx="2490788" cy="1787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ru-RU" dirty="0" smtClean="0"/>
              <a:t>MegaFon | Presentation title and subtitle</a:t>
            </a:r>
            <a:endParaRPr lang="ru-RU" dirty="0"/>
          </a:p>
        </p:txBody>
      </p:sp>
      <p:sp>
        <p:nvSpPr>
          <p:cNvPr id="12" name="Foliennummernplatzhalter 11"/>
          <p:cNvSpPr>
            <a:spLocks noGrp="1"/>
          </p:cNvSpPr>
          <p:nvPr>
            <p:ph type="sldNum" sz="quarter" idx="4"/>
          </p:nvPr>
        </p:nvSpPr>
        <p:spPr>
          <a:xfrm>
            <a:off x="292893" y="4786313"/>
            <a:ext cx="240507" cy="17877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 b="1">
                <a:solidFill>
                  <a:schemeClr val="tx1"/>
                </a:solidFill>
              </a:defRPr>
            </a:lvl1pPr>
          </a:lstStyle>
          <a:p>
            <a:fld id="{0F83C6A9-09AF-44EB-BB3F-3943791E8916}" type="slidenum">
              <a:rPr lang="ru-RU" smtClean="0"/>
              <a:pPr/>
              <a:t>‹#›</a:t>
            </a:fld>
            <a:endParaRPr lang="ru-RU" dirty="0"/>
          </a:p>
        </p:txBody>
      </p:sp>
      <p:grpSp>
        <p:nvGrpSpPr>
          <p:cNvPr id="6" name="Gruppieren 5"/>
          <p:cNvGrpSpPr/>
          <p:nvPr userDrawn="1"/>
        </p:nvGrpSpPr>
        <p:grpSpPr>
          <a:xfrm>
            <a:off x="8673305" y="4914900"/>
            <a:ext cx="183358" cy="52388"/>
            <a:chOff x="8673305" y="4914900"/>
            <a:chExt cx="183358" cy="52388"/>
          </a:xfrm>
        </p:grpSpPr>
        <p:sp>
          <p:nvSpPr>
            <p:cNvPr id="5" name="Ellipse 4"/>
            <p:cNvSpPr/>
            <p:nvPr userDrawn="1"/>
          </p:nvSpPr>
          <p:spPr>
            <a:xfrm>
              <a:off x="8804275" y="4914900"/>
              <a:ext cx="52388" cy="5238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  <p:sp>
          <p:nvSpPr>
            <p:cNvPr id="14" name="Ellipse 13"/>
            <p:cNvSpPr/>
            <p:nvPr userDrawn="1"/>
          </p:nvSpPr>
          <p:spPr>
            <a:xfrm>
              <a:off x="8738790" y="4914900"/>
              <a:ext cx="52388" cy="5238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  <p:sp>
          <p:nvSpPr>
            <p:cNvPr id="15" name="Ellipse 14"/>
            <p:cNvSpPr/>
            <p:nvPr userDrawn="1"/>
          </p:nvSpPr>
          <p:spPr>
            <a:xfrm>
              <a:off x="8673305" y="4914900"/>
              <a:ext cx="52388" cy="5238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eaLnBrk="1"/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26834090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61" r:id="rId2"/>
    <p:sldLayoutId id="2147483662" r:id="rId3"/>
    <p:sldLayoutId id="2147483663" r:id="rId4"/>
    <p:sldLayoutId id="2147483681" r:id="rId5"/>
    <p:sldLayoutId id="2147483679" r:id="rId6"/>
    <p:sldLayoutId id="2147483680" r:id="rId7"/>
    <p:sldLayoutId id="2147483665" r:id="rId8"/>
    <p:sldLayoutId id="2147483666" r:id="rId9"/>
    <p:sldLayoutId id="2147483667" r:id="rId10"/>
    <p:sldLayoutId id="2147483668" r:id="rId11"/>
    <p:sldLayoutId id="2147483669" r:id="rId12"/>
    <p:sldLayoutId id="2147483670" r:id="rId13"/>
    <p:sldLayoutId id="2147483671" r:id="rId14"/>
    <p:sldLayoutId id="2147483672" r:id="rId15"/>
    <p:sldLayoutId id="2147483673" r:id="rId16"/>
    <p:sldLayoutId id="2147483674" r:id="rId17"/>
    <p:sldLayoutId id="2147483676" r:id="rId18"/>
    <p:sldLayoutId id="2147483677" r:id="rId19"/>
    <p:sldLayoutId id="2147483678" r:id="rId20"/>
    <p:sldLayoutId id="2147483751" r:id="rId21"/>
  </p:sldLayoutIdLst>
  <p:timing>
    <p:tnLst>
      <p:par>
        <p:cTn id="1" dur="indefinite" restart="never" nodeType="tmRoot"/>
      </p:par>
    </p:tnLst>
  </p:timing>
  <p:hf hdr="0"/>
  <p:txStyles>
    <p:titleStyle>
      <a:lvl1pPr algn="l" defTabSz="685800" rtl="0" eaLnBrk="1" latinLnBrk="0" hangingPunct="1">
        <a:lnSpc>
          <a:spcPct val="95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Tx/>
        <a:buNone/>
        <a:defRPr sz="16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82563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780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5963" indent="-177800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98525" indent="-182563" algn="l" defTabSz="685800" rtl="0" eaLnBrk="1" latinLnBrk="0" hangingPunct="1">
        <a:lnSpc>
          <a:spcPct val="90000"/>
        </a:lnSpc>
        <a:spcBef>
          <a:spcPts val="375"/>
        </a:spcBef>
        <a:buClr>
          <a:schemeClr val="accent1"/>
        </a:buClr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pos="184" userDrawn="1">
          <p15:clr>
            <a:srgbClr val="F26B43"/>
          </p15:clr>
        </p15:guide>
        <p15:guide id="2" pos="5579" userDrawn="1">
          <p15:clr>
            <a:srgbClr val="F26B43"/>
          </p15:clr>
        </p15:guide>
        <p15:guide id="3" orient="horz" pos="182" userDrawn="1">
          <p15:clr>
            <a:srgbClr val="F26B43"/>
          </p15:clr>
        </p15:guide>
        <p15:guide id="4" orient="horz" pos="3127" userDrawn="1">
          <p15:clr>
            <a:srgbClr val="F26B43"/>
          </p15:clr>
        </p15:guide>
        <p15:guide id="5" orient="horz" pos="3015" userDrawn="1">
          <p15:clr>
            <a:srgbClr val="F26B43"/>
          </p15:clr>
        </p15:guide>
        <p15:guide id="6" orient="horz" pos="2742" userDrawn="1">
          <p15:clr>
            <a:srgbClr val="F26B43"/>
          </p15:clr>
        </p15:guide>
        <p15:guide id="7" orient="horz" pos="532" userDrawn="1">
          <p15:clr>
            <a:srgbClr val="F26B43"/>
          </p15:clr>
        </p15:guide>
        <p15:guide id="8" orient="horz" pos="804" userDrawn="1">
          <p15:clr>
            <a:srgbClr val="F26B43"/>
          </p15:clr>
        </p15:guide>
        <p15:guide id="9" pos="1905" userDrawn="1">
          <p15:clr>
            <a:srgbClr val="F26B43"/>
          </p15:clr>
        </p15:guide>
        <p15:guide id="10" pos="2020" userDrawn="1">
          <p15:clr>
            <a:srgbClr val="F26B43"/>
          </p15:clr>
        </p15:guide>
        <p15:guide id="11" pos="3736" userDrawn="1">
          <p15:clr>
            <a:srgbClr val="F26B43"/>
          </p15:clr>
        </p15:guide>
        <p15:guide id="12" pos="3862" userDrawn="1">
          <p15:clr>
            <a:srgbClr val="F26B43"/>
          </p15:clr>
        </p15:guide>
        <p15:guide id="13" pos="2822" userDrawn="1">
          <p15:clr>
            <a:srgbClr val="F26B43"/>
          </p15:clr>
        </p15:guide>
        <p15:guide id="14" pos="2938" userDrawn="1">
          <p15:clr>
            <a:srgbClr val="F26B43"/>
          </p15:clr>
        </p15:guide>
        <p15:guide id="15" pos="988" userDrawn="1">
          <p15:clr>
            <a:srgbClr val="F26B43"/>
          </p15:clr>
        </p15:guide>
        <p15:guide id="16" pos="1098" userDrawn="1">
          <p15:clr>
            <a:srgbClr val="F26B43"/>
          </p15:clr>
        </p15:guide>
        <p15:guide id="17" pos="4770" userDrawn="1">
          <p15:clr>
            <a:srgbClr val="F26B43"/>
          </p15:clr>
        </p15:guide>
        <p15:guide id="18" pos="466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1467" y="1192"/>
          <a:ext cx="1466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795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467" y="1192"/>
                        <a:ext cx="1466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2030" y="0"/>
            <a:ext cx="7763025" cy="728507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2030" y="1131649"/>
            <a:ext cx="8301047" cy="34435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FooterSimple"/>
          <p:cNvSpPr/>
          <p:nvPr userDrawn="1"/>
        </p:nvSpPr>
        <p:spPr>
          <a:xfrm>
            <a:off x="422032" y="5026252"/>
            <a:ext cx="594830" cy="808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defTabSz="685800"/>
            <a:r>
              <a:rPr lang="en-US" sz="525" smtClean="0">
                <a:solidFill>
                  <a:srgbClr val="898989"/>
                </a:solidFill>
              </a:rPr>
              <a:t>274942-38-DR-Kick-Off-15Aug17-AM-MOS-v6.pptx</a:t>
            </a:r>
            <a:endParaRPr lang="en-US" sz="525" dirty="0">
              <a:solidFill>
                <a:srgbClr val="898989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8546954" y="5007346"/>
            <a:ext cx="175847" cy="95279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 defTabSz="685595">
              <a:defRPr/>
            </a:pPr>
            <a:fld id="{9D53E389-1311-4796-9190-1F74A8EADEA2}" type="slidenum">
              <a:rPr lang="en-US" sz="675" smtClean="0">
                <a:solidFill>
                  <a:srgbClr val="898989"/>
                </a:solidFill>
              </a:rPr>
              <a:pPr algn="r" defTabSz="685595">
                <a:defRPr/>
              </a:pPr>
              <a:t>‹#›</a:t>
            </a:fld>
            <a:endParaRPr lang="en-US" sz="675" smtClean="0">
              <a:solidFill>
                <a:srgbClr val="898989"/>
              </a:solidFill>
            </a:endParaRPr>
          </a:p>
          <a:p>
            <a:pPr defTabSz="685800"/>
            <a:endParaRPr lang="en-US" sz="675" dirty="0" smtClean="0">
              <a:solidFill>
                <a:srgbClr val="898989"/>
              </a:solidFill>
            </a:endParaRPr>
          </a:p>
        </p:txBody>
      </p:sp>
      <p:sp>
        <p:nvSpPr>
          <p:cNvPr id="13" name="Rectangle 2"/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gray">
          <a:xfrm>
            <a:off x="3952509" y="4964083"/>
            <a:ext cx="1237518" cy="138499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defTabSz="685800" eaLnBrk="0" hangingPunct="0"/>
            <a:r>
              <a:rPr lang="en-US" sz="900" dirty="0" smtClean="0">
                <a:solidFill>
                  <a:srgbClr val="C00000"/>
                </a:solidFill>
              </a:rPr>
              <a:t>Draft—for discussion only</a:t>
            </a:r>
          </a:p>
        </p:txBody>
      </p:sp>
      <p:grpSp>
        <p:nvGrpSpPr>
          <p:cNvPr id="17" name="Group 16"/>
          <p:cNvGrpSpPr>
            <a:grpSpLocks noChangeAspect="1"/>
          </p:cNvGrpSpPr>
          <p:nvPr userDrawn="1"/>
        </p:nvGrpSpPr>
        <p:grpSpPr>
          <a:xfrm>
            <a:off x="8453425" y="159206"/>
            <a:ext cx="398975" cy="325288"/>
            <a:chOff x="5176838" y="2511426"/>
            <a:chExt cx="1830388" cy="1836737"/>
          </a:xfrm>
          <a:solidFill>
            <a:srgbClr val="00985F"/>
          </a:solidFill>
        </p:grpSpPr>
        <p:sp>
          <p:nvSpPr>
            <p:cNvPr id="18" name="Freeform 6"/>
            <p:cNvSpPr>
              <a:spLocks noEditPoints="1"/>
            </p:cNvSpPr>
            <p:nvPr/>
          </p:nvSpPr>
          <p:spPr bwMode="auto">
            <a:xfrm>
              <a:off x="6008688" y="2519363"/>
              <a:ext cx="998538" cy="1828800"/>
            </a:xfrm>
            <a:custGeom>
              <a:avLst/>
              <a:gdLst>
                <a:gd name="T0" fmla="*/ 373 w 1888"/>
                <a:gd name="T1" fmla="*/ 1790 h 3457"/>
                <a:gd name="T2" fmla="*/ 372 w 1888"/>
                <a:gd name="T3" fmla="*/ 1790 h 3457"/>
                <a:gd name="T4" fmla="*/ 372 w 1888"/>
                <a:gd name="T5" fmla="*/ 1790 h 3457"/>
                <a:gd name="T6" fmla="*/ 372 w 1888"/>
                <a:gd name="T7" fmla="*/ 1790 h 3457"/>
                <a:gd name="T8" fmla="*/ 283 w 1888"/>
                <a:gd name="T9" fmla="*/ 1921 h 3457"/>
                <a:gd name="T10" fmla="*/ 15 w 1888"/>
                <a:gd name="T11" fmla="*/ 1931 h 3457"/>
                <a:gd name="T12" fmla="*/ 0 w 1888"/>
                <a:gd name="T13" fmla="*/ 1950 h 3457"/>
                <a:gd name="T14" fmla="*/ 336 w 1888"/>
                <a:gd name="T15" fmla="*/ 3447 h 3457"/>
                <a:gd name="T16" fmla="*/ 633 w 1888"/>
                <a:gd name="T17" fmla="*/ 3391 h 3457"/>
                <a:gd name="T18" fmla="*/ 910 w 1888"/>
                <a:gd name="T19" fmla="*/ 3286 h 3457"/>
                <a:gd name="T20" fmla="*/ 1161 w 1888"/>
                <a:gd name="T21" fmla="*/ 3137 h 3457"/>
                <a:gd name="T22" fmla="*/ 1382 w 1888"/>
                <a:gd name="T23" fmla="*/ 2949 h 3457"/>
                <a:gd name="T24" fmla="*/ 1570 w 1888"/>
                <a:gd name="T25" fmla="*/ 2726 h 3457"/>
                <a:gd name="T26" fmla="*/ 1719 w 1888"/>
                <a:gd name="T27" fmla="*/ 2474 h 3457"/>
                <a:gd name="T28" fmla="*/ 1822 w 1888"/>
                <a:gd name="T29" fmla="*/ 2197 h 3457"/>
                <a:gd name="T30" fmla="*/ 1880 w 1888"/>
                <a:gd name="T31" fmla="*/ 1900 h 3457"/>
                <a:gd name="T32" fmla="*/ 1884 w 1888"/>
                <a:gd name="T33" fmla="*/ 1599 h 3457"/>
                <a:gd name="T34" fmla="*/ 1842 w 1888"/>
                <a:gd name="T35" fmla="*/ 1320 h 3457"/>
                <a:gd name="T36" fmla="*/ 1758 w 1888"/>
                <a:gd name="T37" fmla="*/ 1058 h 3457"/>
                <a:gd name="T38" fmla="*/ 1635 w 1888"/>
                <a:gd name="T39" fmla="*/ 816 h 3457"/>
                <a:gd name="T40" fmla="*/ 1477 w 1888"/>
                <a:gd name="T41" fmla="*/ 598 h 3457"/>
                <a:gd name="T42" fmla="*/ 1287 w 1888"/>
                <a:gd name="T43" fmla="*/ 407 h 3457"/>
                <a:gd name="T44" fmla="*/ 1071 w 1888"/>
                <a:gd name="T45" fmla="*/ 247 h 3457"/>
                <a:gd name="T46" fmla="*/ 830 w 1888"/>
                <a:gd name="T47" fmla="*/ 122 h 3457"/>
                <a:gd name="T48" fmla="*/ 569 w 1888"/>
                <a:gd name="T49" fmla="*/ 36 h 3457"/>
                <a:gd name="T50" fmla="*/ 337 w 1888"/>
                <a:gd name="T51" fmla="*/ 2668 h 3457"/>
                <a:gd name="T52" fmla="*/ 209 w 1888"/>
                <a:gd name="T53" fmla="*/ 2625 h 3457"/>
                <a:gd name="T54" fmla="*/ 158 w 1888"/>
                <a:gd name="T55" fmla="*/ 2573 h 3457"/>
                <a:gd name="T56" fmla="*/ 123 w 1888"/>
                <a:gd name="T57" fmla="*/ 2429 h 3457"/>
                <a:gd name="T58" fmla="*/ 171 w 1888"/>
                <a:gd name="T59" fmla="*/ 2314 h 3457"/>
                <a:gd name="T60" fmla="*/ 234 w 1888"/>
                <a:gd name="T61" fmla="*/ 2260 h 3457"/>
                <a:gd name="T62" fmla="*/ 382 w 1888"/>
                <a:gd name="T63" fmla="*/ 2239 h 3457"/>
                <a:gd name="T64" fmla="*/ 484 w 1888"/>
                <a:gd name="T65" fmla="*/ 2291 h 3457"/>
                <a:gd name="T66" fmla="*/ 538 w 1888"/>
                <a:gd name="T67" fmla="*/ 2367 h 3457"/>
                <a:gd name="T68" fmla="*/ 545 w 1888"/>
                <a:gd name="T69" fmla="*/ 2516 h 3457"/>
                <a:gd name="T70" fmla="*/ 491 w 1888"/>
                <a:gd name="T71" fmla="*/ 2605 h 3457"/>
                <a:gd name="T72" fmla="*/ 402 w 1888"/>
                <a:gd name="T73" fmla="*/ 2658 h 3457"/>
                <a:gd name="T74" fmla="*/ 780 w 1888"/>
                <a:gd name="T75" fmla="*/ 2658 h 3457"/>
                <a:gd name="T76" fmla="*/ 692 w 1888"/>
                <a:gd name="T77" fmla="*/ 2605 h 3457"/>
                <a:gd name="T78" fmla="*/ 638 w 1888"/>
                <a:gd name="T79" fmla="*/ 2516 h 3457"/>
                <a:gd name="T80" fmla="*/ 646 w 1888"/>
                <a:gd name="T81" fmla="*/ 2367 h 3457"/>
                <a:gd name="T82" fmla="*/ 700 w 1888"/>
                <a:gd name="T83" fmla="*/ 2291 h 3457"/>
                <a:gd name="T84" fmla="*/ 802 w 1888"/>
                <a:gd name="T85" fmla="*/ 2239 h 3457"/>
                <a:gd name="T86" fmla="*/ 948 w 1888"/>
                <a:gd name="T87" fmla="*/ 2260 h 3457"/>
                <a:gd name="T88" fmla="*/ 1011 w 1888"/>
                <a:gd name="T89" fmla="*/ 2314 h 3457"/>
                <a:gd name="T90" fmla="*/ 1059 w 1888"/>
                <a:gd name="T91" fmla="*/ 2429 h 3457"/>
                <a:gd name="T92" fmla="*/ 1024 w 1888"/>
                <a:gd name="T93" fmla="*/ 2573 h 3457"/>
                <a:gd name="T94" fmla="*/ 973 w 1888"/>
                <a:gd name="T95" fmla="*/ 2625 h 3457"/>
                <a:gd name="T96" fmla="*/ 844 w 1888"/>
                <a:gd name="T97" fmla="*/ 2668 h 3457"/>
                <a:gd name="T98" fmla="*/ 1230 w 1888"/>
                <a:gd name="T99" fmla="*/ 2632 h 3457"/>
                <a:gd name="T100" fmla="*/ 1178 w 1888"/>
                <a:gd name="T101" fmla="*/ 2582 h 3457"/>
                <a:gd name="T102" fmla="*/ 1135 w 1888"/>
                <a:gd name="T103" fmla="*/ 2452 h 3457"/>
                <a:gd name="T104" fmla="*/ 1178 w 1888"/>
                <a:gd name="T105" fmla="*/ 2322 h 3457"/>
                <a:gd name="T106" fmla="*/ 1230 w 1888"/>
                <a:gd name="T107" fmla="*/ 2272 h 3457"/>
                <a:gd name="T108" fmla="*/ 1373 w 1888"/>
                <a:gd name="T109" fmla="*/ 2236 h 3457"/>
                <a:gd name="T110" fmla="*/ 1488 w 1888"/>
                <a:gd name="T111" fmla="*/ 2284 h 3457"/>
                <a:gd name="T112" fmla="*/ 1542 w 1888"/>
                <a:gd name="T113" fmla="*/ 2349 h 3457"/>
                <a:gd name="T114" fmla="*/ 1563 w 1888"/>
                <a:gd name="T115" fmla="*/ 2495 h 3457"/>
                <a:gd name="T116" fmla="*/ 1511 w 1888"/>
                <a:gd name="T117" fmla="*/ 2598 h 3457"/>
                <a:gd name="T118" fmla="*/ 1435 w 1888"/>
                <a:gd name="T119" fmla="*/ 2651 h 3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888" h="3457">
                  <a:moveTo>
                    <a:pt x="373" y="1790"/>
                  </a:move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0" y="1815"/>
                  </a:lnTo>
                  <a:lnTo>
                    <a:pt x="364" y="1838"/>
                  </a:lnTo>
                  <a:lnTo>
                    <a:pt x="353" y="1859"/>
                  </a:lnTo>
                  <a:lnTo>
                    <a:pt x="340" y="1878"/>
                  </a:lnTo>
                  <a:lnTo>
                    <a:pt x="323" y="1896"/>
                  </a:lnTo>
                  <a:lnTo>
                    <a:pt x="304" y="1910"/>
                  </a:lnTo>
                  <a:lnTo>
                    <a:pt x="283" y="1921"/>
                  </a:lnTo>
                  <a:lnTo>
                    <a:pt x="260" y="1927"/>
                  </a:lnTo>
                  <a:lnTo>
                    <a:pt x="241" y="1931"/>
                  </a:lnTo>
                  <a:lnTo>
                    <a:pt x="221" y="1931"/>
                  </a:lnTo>
                  <a:lnTo>
                    <a:pt x="202" y="1931"/>
                  </a:lnTo>
                  <a:lnTo>
                    <a:pt x="182" y="1931"/>
                  </a:lnTo>
                  <a:lnTo>
                    <a:pt x="19" y="1931"/>
                  </a:lnTo>
                  <a:lnTo>
                    <a:pt x="15" y="1931"/>
                  </a:lnTo>
                  <a:lnTo>
                    <a:pt x="12" y="1932"/>
                  </a:lnTo>
                  <a:lnTo>
                    <a:pt x="9" y="1934"/>
                  </a:lnTo>
                  <a:lnTo>
                    <a:pt x="5" y="1936"/>
                  </a:lnTo>
                  <a:lnTo>
                    <a:pt x="3" y="1939"/>
                  </a:lnTo>
                  <a:lnTo>
                    <a:pt x="1" y="1942"/>
                  </a:lnTo>
                  <a:lnTo>
                    <a:pt x="0" y="1945"/>
                  </a:lnTo>
                  <a:lnTo>
                    <a:pt x="0" y="1950"/>
                  </a:lnTo>
                  <a:lnTo>
                    <a:pt x="0" y="3449"/>
                  </a:lnTo>
                  <a:lnTo>
                    <a:pt x="80" y="3455"/>
                  </a:lnTo>
                  <a:lnTo>
                    <a:pt x="159" y="3457"/>
                  </a:lnTo>
                  <a:lnTo>
                    <a:pt x="205" y="3456"/>
                  </a:lnTo>
                  <a:lnTo>
                    <a:pt x="248" y="3455"/>
                  </a:lnTo>
                  <a:lnTo>
                    <a:pt x="293" y="3452"/>
                  </a:lnTo>
                  <a:lnTo>
                    <a:pt x="336" y="3447"/>
                  </a:lnTo>
                  <a:lnTo>
                    <a:pt x="380" y="3443"/>
                  </a:lnTo>
                  <a:lnTo>
                    <a:pt x="423" y="3437"/>
                  </a:lnTo>
                  <a:lnTo>
                    <a:pt x="465" y="3429"/>
                  </a:lnTo>
                  <a:lnTo>
                    <a:pt x="508" y="3422"/>
                  </a:lnTo>
                  <a:lnTo>
                    <a:pt x="550" y="3412"/>
                  </a:lnTo>
                  <a:lnTo>
                    <a:pt x="592" y="3403"/>
                  </a:lnTo>
                  <a:lnTo>
                    <a:pt x="633" y="3391"/>
                  </a:lnTo>
                  <a:lnTo>
                    <a:pt x="673" y="3379"/>
                  </a:lnTo>
                  <a:lnTo>
                    <a:pt x="715" y="3365"/>
                  </a:lnTo>
                  <a:lnTo>
                    <a:pt x="754" y="3352"/>
                  </a:lnTo>
                  <a:lnTo>
                    <a:pt x="794" y="3337"/>
                  </a:lnTo>
                  <a:lnTo>
                    <a:pt x="832" y="3321"/>
                  </a:lnTo>
                  <a:lnTo>
                    <a:pt x="872" y="3304"/>
                  </a:lnTo>
                  <a:lnTo>
                    <a:pt x="910" y="3286"/>
                  </a:lnTo>
                  <a:lnTo>
                    <a:pt x="947" y="3267"/>
                  </a:lnTo>
                  <a:lnTo>
                    <a:pt x="984" y="3247"/>
                  </a:lnTo>
                  <a:lnTo>
                    <a:pt x="1020" y="3227"/>
                  </a:lnTo>
                  <a:lnTo>
                    <a:pt x="1056" y="3206"/>
                  </a:lnTo>
                  <a:lnTo>
                    <a:pt x="1092" y="3184"/>
                  </a:lnTo>
                  <a:lnTo>
                    <a:pt x="1126" y="3160"/>
                  </a:lnTo>
                  <a:lnTo>
                    <a:pt x="1161" y="3137"/>
                  </a:lnTo>
                  <a:lnTo>
                    <a:pt x="1194" y="3112"/>
                  </a:lnTo>
                  <a:lnTo>
                    <a:pt x="1227" y="3087"/>
                  </a:lnTo>
                  <a:lnTo>
                    <a:pt x="1260" y="3060"/>
                  </a:lnTo>
                  <a:lnTo>
                    <a:pt x="1291" y="3034"/>
                  </a:lnTo>
                  <a:lnTo>
                    <a:pt x="1322" y="3006"/>
                  </a:lnTo>
                  <a:lnTo>
                    <a:pt x="1353" y="2977"/>
                  </a:lnTo>
                  <a:lnTo>
                    <a:pt x="1382" y="2949"/>
                  </a:lnTo>
                  <a:lnTo>
                    <a:pt x="1411" y="2919"/>
                  </a:lnTo>
                  <a:lnTo>
                    <a:pt x="1440" y="2889"/>
                  </a:lnTo>
                  <a:lnTo>
                    <a:pt x="1467" y="2857"/>
                  </a:lnTo>
                  <a:lnTo>
                    <a:pt x="1494" y="2825"/>
                  </a:lnTo>
                  <a:lnTo>
                    <a:pt x="1520" y="2793"/>
                  </a:lnTo>
                  <a:lnTo>
                    <a:pt x="1545" y="2760"/>
                  </a:lnTo>
                  <a:lnTo>
                    <a:pt x="1570" y="2726"/>
                  </a:lnTo>
                  <a:lnTo>
                    <a:pt x="1593" y="2692"/>
                  </a:lnTo>
                  <a:lnTo>
                    <a:pt x="1616" y="2657"/>
                  </a:lnTo>
                  <a:lnTo>
                    <a:pt x="1638" y="2622"/>
                  </a:lnTo>
                  <a:lnTo>
                    <a:pt x="1659" y="2586"/>
                  </a:lnTo>
                  <a:lnTo>
                    <a:pt x="1680" y="2549"/>
                  </a:lnTo>
                  <a:lnTo>
                    <a:pt x="1699" y="2511"/>
                  </a:lnTo>
                  <a:lnTo>
                    <a:pt x="1719" y="2474"/>
                  </a:lnTo>
                  <a:lnTo>
                    <a:pt x="1736" y="2436"/>
                  </a:lnTo>
                  <a:lnTo>
                    <a:pt x="1752" y="2398"/>
                  </a:lnTo>
                  <a:lnTo>
                    <a:pt x="1768" y="2358"/>
                  </a:lnTo>
                  <a:lnTo>
                    <a:pt x="1783" y="2319"/>
                  </a:lnTo>
                  <a:lnTo>
                    <a:pt x="1798" y="2278"/>
                  </a:lnTo>
                  <a:lnTo>
                    <a:pt x="1811" y="2238"/>
                  </a:lnTo>
                  <a:lnTo>
                    <a:pt x="1822" y="2197"/>
                  </a:lnTo>
                  <a:lnTo>
                    <a:pt x="1834" y="2155"/>
                  </a:lnTo>
                  <a:lnTo>
                    <a:pt x="1845" y="2114"/>
                  </a:lnTo>
                  <a:lnTo>
                    <a:pt x="1853" y="2072"/>
                  </a:lnTo>
                  <a:lnTo>
                    <a:pt x="1862" y="2030"/>
                  </a:lnTo>
                  <a:lnTo>
                    <a:pt x="1869" y="1986"/>
                  </a:lnTo>
                  <a:lnTo>
                    <a:pt x="1874" y="1943"/>
                  </a:lnTo>
                  <a:lnTo>
                    <a:pt x="1880" y="1900"/>
                  </a:lnTo>
                  <a:lnTo>
                    <a:pt x="1884" y="1855"/>
                  </a:lnTo>
                  <a:lnTo>
                    <a:pt x="1886" y="1811"/>
                  </a:lnTo>
                  <a:lnTo>
                    <a:pt x="1888" y="1767"/>
                  </a:lnTo>
                  <a:lnTo>
                    <a:pt x="1888" y="1722"/>
                  </a:lnTo>
                  <a:lnTo>
                    <a:pt x="1888" y="1681"/>
                  </a:lnTo>
                  <a:lnTo>
                    <a:pt x="1887" y="1639"/>
                  </a:lnTo>
                  <a:lnTo>
                    <a:pt x="1884" y="1599"/>
                  </a:lnTo>
                  <a:lnTo>
                    <a:pt x="1881" y="1558"/>
                  </a:lnTo>
                  <a:lnTo>
                    <a:pt x="1876" y="1518"/>
                  </a:lnTo>
                  <a:lnTo>
                    <a:pt x="1871" y="1477"/>
                  </a:lnTo>
                  <a:lnTo>
                    <a:pt x="1866" y="1438"/>
                  </a:lnTo>
                  <a:lnTo>
                    <a:pt x="1858" y="1398"/>
                  </a:lnTo>
                  <a:lnTo>
                    <a:pt x="1851" y="1359"/>
                  </a:lnTo>
                  <a:lnTo>
                    <a:pt x="1842" y="1320"/>
                  </a:lnTo>
                  <a:lnTo>
                    <a:pt x="1832" y="1282"/>
                  </a:lnTo>
                  <a:lnTo>
                    <a:pt x="1821" y="1243"/>
                  </a:lnTo>
                  <a:lnTo>
                    <a:pt x="1811" y="1205"/>
                  </a:lnTo>
                  <a:lnTo>
                    <a:pt x="1798" y="1168"/>
                  </a:lnTo>
                  <a:lnTo>
                    <a:pt x="1785" y="1131"/>
                  </a:lnTo>
                  <a:lnTo>
                    <a:pt x="1772" y="1095"/>
                  </a:lnTo>
                  <a:lnTo>
                    <a:pt x="1758" y="1058"/>
                  </a:lnTo>
                  <a:lnTo>
                    <a:pt x="1742" y="1022"/>
                  </a:lnTo>
                  <a:lnTo>
                    <a:pt x="1726" y="987"/>
                  </a:lnTo>
                  <a:lnTo>
                    <a:pt x="1709" y="952"/>
                  </a:lnTo>
                  <a:lnTo>
                    <a:pt x="1691" y="917"/>
                  </a:lnTo>
                  <a:lnTo>
                    <a:pt x="1673" y="883"/>
                  </a:lnTo>
                  <a:lnTo>
                    <a:pt x="1654" y="849"/>
                  </a:lnTo>
                  <a:lnTo>
                    <a:pt x="1635" y="816"/>
                  </a:lnTo>
                  <a:lnTo>
                    <a:pt x="1614" y="783"/>
                  </a:lnTo>
                  <a:lnTo>
                    <a:pt x="1592" y="751"/>
                  </a:lnTo>
                  <a:lnTo>
                    <a:pt x="1570" y="719"/>
                  </a:lnTo>
                  <a:lnTo>
                    <a:pt x="1548" y="688"/>
                  </a:lnTo>
                  <a:lnTo>
                    <a:pt x="1525" y="657"/>
                  </a:lnTo>
                  <a:lnTo>
                    <a:pt x="1501" y="628"/>
                  </a:lnTo>
                  <a:lnTo>
                    <a:pt x="1477" y="598"/>
                  </a:lnTo>
                  <a:lnTo>
                    <a:pt x="1451" y="569"/>
                  </a:lnTo>
                  <a:lnTo>
                    <a:pt x="1425" y="540"/>
                  </a:lnTo>
                  <a:lnTo>
                    <a:pt x="1398" y="513"/>
                  </a:lnTo>
                  <a:lnTo>
                    <a:pt x="1372" y="485"/>
                  </a:lnTo>
                  <a:lnTo>
                    <a:pt x="1344" y="459"/>
                  </a:lnTo>
                  <a:lnTo>
                    <a:pt x="1316" y="432"/>
                  </a:lnTo>
                  <a:lnTo>
                    <a:pt x="1287" y="407"/>
                  </a:lnTo>
                  <a:lnTo>
                    <a:pt x="1257" y="382"/>
                  </a:lnTo>
                  <a:lnTo>
                    <a:pt x="1228" y="359"/>
                  </a:lnTo>
                  <a:lnTo>
                    <a:pt x="1197" y="334"/>
                  </a:lnTo>
                  <a:lnTo>
                    <a:pt x="1166" y="312"/>
                  </a:lnTo>
                  <a:lnTo>
                    <a:pt x="1135" y="289"/>
                  </a:lnTo>
                  <a:lnTo>
                    <a:pt x="1103" y="268"/>
                  </a:lnTo>
                  <a:lnTo>
                    <a:pt x="1071" y="247"/>
                  </a:lnTo>
                  <a:lnTo>
                    <a:pt x="1038" y="228"/>
                  </a:lnTo>
                  <a:lnTo>
                    <a:pt x="1004" y="208"/>
                  </a:lnTo>
                  <a:lnTo>
                    <a:pt x="970" y="189"/>
                  </a:lnTo>
                  <a:lnTo>
                    <a:pt x="936" y="171"/>
                  </a:lnTo>
                  <a:lnTo>
                    <a:pt x="901" y="154"/>
                  </a:lnTo>
                  <a:lnTo>
                    <a:pt x="866" y="138"/>
                  </a:lnTo>
                  <a:lnTo>
                    <a:pt x="830" y="122"/>
                  </a:lnTo>
                  <a:lnTo>
                    <a:pt x="794" y="108"/>
                  </a:lnTo>
                  <a:lnTo>
                    <a:pt x="757" y="94"/>
                  </a:lnTo>
                  <a:lnTo>
                    <a:pt x="721" y="81"/>
                  </a:lnTo>
                  <a:lnTo>
                    <a:pt x="684" y="68"/>
                  </a:lnTo>
                  <a:lnTo>
                    <a:pt x="646" y="56"/>
                  </a:lnTo>
                  <a:lnTo>
                    <a:pt x="608" y="46"/>
                  </a:lnTo>
                  <a:lnTo>
                    <a:pt x="569" y="36"/>
                  </a:lnTo>
                  <a:lnTo>
                    <a:pt x="531" y="28"/>
                  </a:lnTo>
                  <a:lnTo>
                    <a:pt x="492" y="19"/>
                  </a:lnTo>
                  <a:lnTo>
                    <a:pt x="453" y="12"/>
                  </a:lnTo>
                  <a:lnTo>
                    <a:pt x="412" y="5"/>
                  </a:lnTo>
                  <a:lnTo>
                    <a:pt x="373" y="0"/>
                  </a:lnTo>
                  <a:lnTo>
                    <a:pt x="373" y="1790"/>
                  </a:lnTo>
                  <a:close/>
                  <a:moveTo>
                    <a:pt x="337" y="2668"/>
                  </a:moveTo>
                  <a:lnTo>
                    <a:pt x="316" y="2667"/>
                  </a:lnTo>
                  <a:lnTo>
                    <a:pt x="294" y="2663"/>
                  </a:lnTo>
                  <a:lnTo>
                    <a:pt x="274" y="2658"/>
                  </a:lnTo>
                  <a:lnTo>
                    <a:pt x="253" y="2651"/>
                  </a:lnTo>
                  <a:lnTo>
                    <a:pt x="234" y="2642"/>
                  </a:lnTo>
                  <a:lnTo>
                    <a:pt x="217" y="2632"/>
                  </a:lnTo>
                  <a:lnTo>
                    <a:pt x="209" y="2625"/>
                  </a:lnTo>
                  <a:lnTo>
                    <a:pt x="200" y="2619"/>
                  </a:lnTo>
                  <a:lnTo>
                    <a:pt x="192" y="2612"/>
                  </a:lnTo>
                  <a:lnTo>
                    <a:pt x="185" y="2605"/>
                  </a:lnTo>
                  <a:lnTo>
                    <a:pt x="178" y="2598"/>
                  </a:lnTo>
                  <a:lnTo>
                    <a:pt x="171" y="2589"/>
                  </a:lnTo>
                  <a:lnTo>
                    <a:pt x="164" y="2582"/>
                  </a:lnTo>
                  <a:lnTo>
                    <a:pt x="158" y="2573"/>
                  </a:lnTo>
                  <a:lnTo>
                    <a:pt x="147" y="2555"/>
                  </a:lnTo>
                  <a:lnTo>
                    <a:pt x="139" y="2536"/>
                  </a:lnTo>
                  <a:lnTo>
                    <a:pt x="132" y="2516"/>
                  </a:lnTo>
                  <a:lnTo>
                    <a:pt x="126" y="2495"/>
                  </a:lnTo>
                  <a:lnTo>
                    <a:pt x="123" y="2474"/>
                  </a:lnTo>
                  <a:lnTo>
                    <a:pt x="122" y="2452"/>
                  </a:lnTo>
                  <a:lnTo>
                    <a:pt x="123" y="2429"/>
                  </a:lnTo>
                  <a:lnTo>
                    <a:pt x="126" y="2408"/>
                  </a:lnTo>
                  <a:lnTo>
                    <a:pt x="132" y="2387"/>
                  </a:lnTo>
                  <a:lnTo>
                    <a:pt x="139" y="2367"/>
                  </a:lnTo>
                  <a:lnTo>
                    <a:pt x="147" y="2349"/>
                  </a:lnTo>
                  <a:lnTo>
                    <a:pt x="158" y="2331"/>
                  </a:lnTo>
                  <a:lnTo>
                    <a:pt x="164" y="2322"/>
                  </a:lnTo>
                  <a:lnTo>
                    <a:pt x="171" y="2314"/>
                  </a:lnTo>
                  <a:lnTo>
                    <a:pt x="178" y="2306"/>
                  </a:lnTo>
                  <a:lnTo>
                    <a:pt x="185" y="2299"/>
                  </a:lnTo>
                  <a:lnTo>
                    <a:pt x="192" y="2291"/>
                  </a:lnTo>
                  <a:lnTo>
                    <a:pt x="200" y="2284"/>
                  </a:lnTo>
                  <a:lnTo>
                    <a:pt x="209" y="2277"/>
                  </a:lnTo>
                  <a:lnTo>
                    <a:pt x="217" y="2272"/>
                  </a:lnTo>
                  <a:lnTo>
                    <a:pt x="234" y="2260"/>
                  </a:lnTo>
                  <a:lnTo>
                    <a:pt x="253" y="2252"/>
                  </a:lnTo>
                  <a:lnTo>
                    <a:pt x="274" y="2244"/>
                  </a:lnTo>
                  <a:lnTo>
                    <a:pt x="294" y="2239"/>
                  </a:lnTo>
                  <a:lnTo>
                    <a:pt x="316" y="2236"/>
                  </a:lnTo>
                  <a:lnTo>
                    <a:pt x="337" y="2235"/>
                  </a:lnTo>
                  <a:lnTo>
                    <a:pt x="359" y="2236"/>
                  </a:lnTo>
                  <a:lnTo>
                    <a:pt x="382" y="2239"/>
                  </a:lnTo>
                  <a:lnTo>
                    <a:pt x="402" y="2244"/>
                  </a:lnTo>
                  <a:lnTo>
                    <a:pt x="422" y="2252"/>
                  </a:lnTo>
                  <a:lnTo>
                    <a:pt x="441" y="2260"/>
                  </a:lnTo>
                  <a:lnTo>
                    <a:pt x="459" y="2272"/>
                  </a:lnTo>
                  <a:lnTo>
                    <a:pt x="468" y="2277"/>
                  </a:lnTo>
                  <a:lnTo>
                    <a:pt x="476" y="2284"/>
                  </a:lnTo>
                  <a:lnTo>
                    <a:pt x="484" y="2291"/>
                  </a:lnTo>
                  <a:lnTo>
                    <a:pt x="491" y="2299"/>
                  </a:lnTo>
                  <a:lnTo>
                    <a:pt x="498" y="2306"/>
                  </a:lnTo>
                  <a:lnTo>
                    <a:pt x="505" y="2314"/>
                  </a:lnTo>
                  <a:lnTo>
                    <a:pt x="511" y="2322"/>
                  </a:lnTo>
                  <a:lnTo>
                    <a:pt x="517" y="2331"/>
                  </a:lnTo>
                  <a:lnTo>
                    <a:pt x="528" y="2349"/>
                  </a:lnTo>
                  <a:lnTo>
                    <a:pt x="538" y="2367"/>
                  </a:lnTo>
                  <a:lnTo>
                    <a:pt x="545" y="2387"/>
                  </a:lnTo>
                  <a:lnTo>
                    <a:pt x="550" y="2408"/>
                  </a:lnTo>
                  <a:lnTo>
                    <a:pt x="553" y="2429"/>
                  </a:lnTo>
                  <a:lnTo>
                    <a:pt x="555" y="2452"/>
                  </a:lnTo>
                  <a:lnTo>
                    <a:pt x="553" y="2474"/>
                  </a:lnTo>
                  <a:lnTo>
                    <a:pt x="550" y="2495"/>
                  </a:lnTo>
                  <a:lnTo>
                    <a:pt x="545" y="2516"/>
                  </a:lnTo>
                  <a:lnTo>
                    <a:pt x="538" y="2536"/>
                  </a:lnTo>
                  <a:lnTo>
                    <a:pt x="528" y="2555"/>
                  </a:lnTo>
                  <a:lnTo>
                    <a:pt x="517" y="2573"/>
                  </a:lnTo>
                  <a:lnTo>
                    <a:pt x="511" y="2582"/>
                  </a:lnTo>
                  <a:lnTo>
                    <a:pt x="505" y="2589"/>
                  </a:lnTo>
                  <a:lnTo>
                    <a:pt x="498" y="2598"/>
                  </a:lnTo>
                  <a:lnTo>
                    <a:pt x="491" y="2605"/>
                  </a:lnTo>
                  <a:lnTo>
                    <a:pt x="484" y="2612"/>
                  </a:lnTo>
                  <a:lnTo>
                    <a:pt x="476" y="2619"/>
                  </a:lnTo>
                  <a:lnTo>
                    <a:pt x="468" y="2625"/>
                  </a:lnTo>
                  <a:lnTo>
                    <a:pt x="459" y="2632"/>
                  </a:lnTo>
                  <a:lnTo>
                    <a:pt x="441" y="2642"/>
                  </a:lnTo>
                  <a:lnTo>
                    <a:pt x="422" y="2651"/>
                  </a:lnTo>
                  <a:lnTo>
                    <a:pt x="402" y="2658"/>
                  </a:lnTo>
                  <a:lnTo>
                    <a:pt x="382" y="2663"/>
                  </a:lnTo>
                  <a:lnTo>
                    <a:pt x="359" y="2667"/>
                  </a:lnTo>
                  <a:lnTo>
                    <a:pt x="337" y="2668"/>
                  </a:lnTo>
                  <a:close/>
                  <a:moveTo>
                    <a:pt x="844" y="2668"/>
                  </a:moveTo>
                  <a:lnTo>
                    <a:pt x="823" y="2667"/>
                  </a:lnTo>
                  <a:lnTo>
                    <a:pt x="802" y="2663"/>
                  </a:lnTo>
                  <a:lnTo>
                    <a:pt x="780" y="2658"/>
                  </a:lnTo>
                  <a:lnTo>
                    <a:pt x="760" y="2651"/>
                  </a:lnTo>
                  <a:lnTo>
                    <a:pt x="742" y="2642"/>
                  </a:lnTo>
                  <a:lnTo>
                    <a:pt x="724" y="2632"/>
                  </a:lnTo>
                  <a:lnTo>
                    <a:pt x="716" y="2625"/>
                  </a:lnTo>
                  <a:lnTo>
                    <a:pt x="707" y="2619"/>
                  </a:lnTo>
                  <a:lnTo>
                    <a:pt x="700" y="2612"/>
                  </a:lnTo>
                  <a:lnTo>
                    <a:pt x="692" y="2605"/>
                  </a:lnTo>
                  <a:lnTo>
                    <a:pt x="685" y="2598"/>
                  </a:lnTo>
                  <a:lnTo>
                    <a:pt x="678" y="2589"/>
                  </a:lnTo>
                  <a:lnTo>
                    <a:pt x="671" y="2582"/>
                  </a:lnTo>
                  <a:lnTo>
                    <a:pt x="666" y="2573"/>
                  </a:lnTo>
                  <a:lnTo>
                    <a:pt x="654" y="2555"/>
                  </a:lnTo>
                  <a:lnTo>
                    <a:pt x="646" y="2536"/>
                  </a:lnTo>
                  <a:lnTo>
                    <a:pt x="638" y="2516"/>
                  </a:lnTo>
                  <a:lnTo>
                    <a:pt x="633" y="2495"/>
                  </a:lnTo>
                  <a:lnTo>
                    <a:pt x="630" y="2474"/>
                  </a:lnTo>
                  <a:lnTo>
                    <a:pt x="629" y="2452"/>
                  </a:lnTo>
                  <a:lnTo>
                    <a:pt x="630" y="2429"/>
                  </a:lnTo>
                  <a:lnTo>
                    <a:pt x="633" y="2408"/>
                  </a:lnTo>
                  <a:lnTo>
                    <a:pt x="638" y="2387"/>
                  </a:lnTo>
                  <a:lnTo>
                    <a:pt x="646" y="2367"/>
                  </a:lnTo>
                  <a:lnTo>
                    <a:pt x="654" y="2349"/>
                  </a:lnTo>
                  <a:lnTo>
                    <a:pt x="666" y="2331"/>
                  </a:lnTo>
                  <a:lnTo>
                    <a:pt x="671" y="2322"/>
                  </a:lnTo>
                  <a:lnTo>
                    <a:pt x="678" y="2314"/>
                  </a:lnTo>
                  <a:lnTo>
                    <a:pt x="685" y="2306"/>
                  </a:lnTo>
                  <a:lnTo>
                    <a:pt x="692" y="2299"/>
                  </a:lnTo>
                  <a:lnTo>
                    <a:pt x="700" y="2291"/>
                  </a:lnTo>
                  <a:lnTo>
                    <a:pt x="707" y="2284"/>
                  </a:lnTo>
                  <a:lnTo>
                    <a:pt x="716" y="2277"/>
                  </a:lnTo>
                  <a:lnTo>
                    <a:pt x="724" y="2272"/>
                  </a:lnTo>
                  <a:lnTo>
                    <a:pt x="742" y="2260"/>
                  </a:lnTo>
                  <a:lnTo>
                    <a:pt x="760" y="2252"/>
                  </a:lnTo>
                  <a:lnTo>
                    <a:pt x="780" y="2244"/>
                  </a:lnTo>
                  <a:lnTo>
                    <a:pt x="802" y="2239"/>
                  </a:lnTo>
                  <a:lnTo>
                    <a:pt x="823" y="2236"/>
                  </a:lnTo>
                  <a:lnTo>
                    <a:pt x="844" y="2235"/>
                  </a:lnTo>
                  <a:lnTo>
                    <a:pt x="866" y="2236"/>
                  </a:lnTo>
                  <a:lnTo>
                    <a:pt x="888" y="2239"/>
                  </a:lnTo>
                  <a:lnTo>
                    <a:pt x="909" y="2244"/>
                  </a:lnTo>
                  <a:lnTo>
                    <a:pt x="929" y="2252"/>
                  </a:lnTo>
                  <a:lnTo>
                    <a:pt x="948" y="2260"/>
                  </a:lnTo>
                  <a:lnTo>
                    <a:pt x="966" y="2272"/>
                  </a:lnTo>
                  <a:lnTo>
                    <a:pt x="973" y="2277"/>
                  </a:lnTo>
                  <a:lnTo>
                    <a:pt x="982" y="2284"/>
                  </a:lnTo>
                  <a:lnTo>
                    <a:pt x="990" y="2291"/>
                  </a:lnTo>
                  <a:lnTo>
                    <a:pt x="998" y="2299"/>
                  </a:lnTo>
                  <a:lnTo>
                    <a:pt x="1004" y="2306"/>
                  </a:lnTo>
                  <a:lnTo>
                    <a:pt x="1011" y="2314"/>
                  </a:lnTo>
                  <a:lnTo>
                    <a:pt x="1018" y="2322"/>
                  </a:lnTo>
                  <a:lnTo>
                    <a:pt x="1024" y="2331"/>
                  </a:lnTo>
                  <a:lnTo>
                    <a:pt x="1035" y="2349"/>
                  </a:lnTo>
                  <a:lnTo>
                    <a:pt x="1043" y="2367"/>
                  </a:lnTo>
                  <a:lnTo>
                    <a:pt x="1051" y="2387"/>
                  </a:lnTo>
                  <a:lnTo>
                    <a:pt x="1056" y="2408"/>
                  </a:lnTo>
                  <a:lnTo>
                    <a:pt x="1059" y="2429"/>
                  </a:lnTo>
                  <a:lnTo>
                    <a:pt x="1060" y="2452"/>
                  </a:lnTo>
                  <a:lnTo>
                    <a:pt x="1059" y="2474"/>
                  </a:lnTo>
                  <a:lnTo>
                    <a:pt x="1056" y="2495"/>
                  </a:lnTo>
                  <a:lnTo>
                    <a:pt x="1051" y="2516"/>
                  </a:lnTo>
                  <a:lnTo>
                    <a:pt x="1043" y="2536"/>
                  </a:lnTo>
                  <a:lnTo>
                    <a:pt x="1035" y="2555"/>
                  </a:lnTo>
                  <a:lnTo>
                    <a:pt x="1024" y="2573"/>
                  </a:lnTo>
                  <a:lnTo>
                    <a:pt x="1018" y="2582"/>
                  </a:lnTo>
                  <a:lnTo>
                    <a:pt x="1011" y="2589"/>
                  </a:lnTo>
                  <a:lnTo>
                    <a:pt x="1004" y="2598"/>
                  </a:lnTo>
                  <a:lnTo>
                    <a:pt x="998" y="2605"/>
                  </a:lnTo>
                  <a:lnTo>
                    <a:pt x="990" y="2612"/>
                  </a:lnTo>
                  <a:lnTo>
                    <a:pt x="982" y="2619"/>
                  </a:lnTo>
                  <a:lnTo>
                    <a:pt x="973" y="2625"/>
                  </a:lnTo>
                  <a:lnTo>
                    <a:pt x="966" y="2632"/>
                  </a:lnTo>
                  <a:lnTo>
                    <a:pt x="948" y="2642"/>
                  </a:lnTo>
                  <a:lnTo>
                    <a:pt x="929" y="2651"/>
                  </a:lnTo>
                  <a:lnTo>
                    <a:pt x="909" y="2658"/>
                  </a:lnTo>
                  <a:lnTo>
                    <a:pt x="888" y="2663"/>
                  </a:lnTo>
                  <a:lnTo>
                    <a:pt x="866" y="2667"/>
                  </a:lnTo>
                  <a:lnTo>
                    <a:pt x="844" y="2668"/>
                  </a:lnTo>
                  <a:close/>
                  <a:moveTo>
                    <a:pt x="1351" y="2668"/>
                  </a:moveTo>
                  <a:lnTo>
                    <a:pt x="1329" y="2667"/>
                  </a:lnTo>
                  <a:lnTo>
                    <a:pt x="1307" y="2663"/>
                  </a:lnTo>
                  <a:lnTo>
                    <a:pt x="1287" y="2658"/>
                  </a:lnTo>
                  <a:lnTo>
                    <a:pt x="1267" y="2651"/>
                  </a:lnTo>
                  <a:lnTo>
                    <a:pt x="1248" y="2642"/>
                  </a:lnTo>
                  <a:lnTo>
                    <a:pt x="1230" y="2632"/>
                  </a:lnTo>
                  <a:lnTo>
                    <a:pt x="1221" y="2625"/>
                  </a:lnTo>
                  <a:lnTo>
                    <a:pt x="1214" y="2619"/>
                  </a:lnTo>
                  <a:lnTo>
                    <a:pt x="1205" y="2612"/>
                  </a:lnTo>
                  <a:lnTo>
                    <a:pt x="1198" y="2605"/>
                  </a:lnTo>
                  <a:lnTo>
                    <a:pt x="1191" y="2598"/>
                  </a:lnTo>
                  <a:lnTo>
                    <a:pt x="1184" y="2589"/>
                  </a:lnTo>
                  <a:lnTo>
                    <a:pt x="1178" y="2582"/>
                  </a:lnTo>
                  <a:lnTo>
                    <a:pt x="1172" y="2573"/>
                  </a:lnTo>
                  <a:lnTo>
                    <a:pt x="1161" y="2555"/>
                  </a:lnTo>
                  <a:lnTo>
                    <a:pt x="1152" y="2536"/>
                  </a:lnTo>
                  <a:lnTo>
                    <a:pt x="1145" y="2516"/>
                  </a:lnTo>
                  <a:lnTo>
                    <a:pt x="1140" y="2495"/>
                  </a:lnTo>
                  <a:lnTo>
                    <a:pt x="1137" y="2474"/>
                  </a:lnTo>
                  <a:lnTo>
                    <a:pt x="1135" y="2452"/>
                  </a:lnTo>
                  <a:lnTo>
                    <a:pt x="1137" y="2429"/>
                  </a:lnTo>
                  <a:lnTo>
                    <a:pt x="1140" y="2408"/>
                  </a:lnTo>
                  <a:lnTo>
                    <a:pt x="1145" y="2387"/>
                  </a:lnTo>
                  <a:lnTo>
                    <a:pt x="1152" y="2367"/>
                  </a:lnTo>
                  <a:lnTo>
                    <a:pt x="1161" y="2349"/>
                  </a:lnTo>
                  <a:lnTo>
                    <a:pt x="1172" y="2331"/>
                  </a:lnTo>
                  <a:lnTo>
                    <a:pt x="1178" y="2322"/>
                  </a:lnTo>
                  <a:lnTo>
                    <a:pt x="1184" y="2314"/>
                  </a:lnTo>
                  <a:lnTo>
                    <a:pt x="1191" y="2306"/>
                  </a:lnTo>
                  <a:lnTo>
                    <a:pt x="1198" y="2299"/>
                  </a:lnTo>
                  <a:lnTo>
                    <a:pt x="1205" y="2291"/>
                  </a:lnTo>
                  <a:lnTo>
                    <a:pt x="1214" y="2284"/>
                  </a:lnTo>
                  <a:lnTo>
                    <a:pt x="1221" y="2277"/>
                  </a:lnTo>
                  <a:lnTo>
                    <a:pt x="1230" y="2272"/>
                  </a:lnTo>
                  <a:lnTo>
                    <a:pt x="1248" y="2260"/>
                  </a:lnTo>
                  <a:lnTo>
                    <a:pt x="1267" y="2252"/>
                  </a:lnTo>
                  <a:lnTo>
                    <a:pt x="1287" y="2244"/>
                  </a:lnTo>
                  <a:lnTo>
                    <a:pt x="1307" y="2239"/>
                  </a:lnTo>
                  <a:lnTo>
                    <a:pt x="1329" y="2236"/>
                  </a:lnTo>
                  <a:lnTo>
                    <a:pt x="1351" y="2235"/>
                  </a:lnTo>
                  <a:lnTo>
                    <a:pt x="1373" y="2236"/>
                  </a:lnTo>
                  <a:lnTo>
                    <a:pt x="1394" y="2239"/>
                  </a:lnTo>
                  <a:lnTo>
                    <a:pt x="1415" y="2244"/>
                  </a:lnTo>
                  <a:lnTo>
                    <a:pt x="1435" y="2252"/>
                  </a:lnTo>
                  <a:lnTo>
                    <a:pt x="1455" y="2260"/>
                  </a:lnTo>
                  <a:lnTo>
                    <a:pt x="1472" y="2272"/>
                  </a:lnTo>
                  <a:lnTo>
                    <a:pt x="1480" y="2277"/>
                  </a:lnTo>
                  <a:lnTo>
                    <a:pt x="1488" y="2284"/>
                  </a:lnTo>
                  <a:lnTo>
                    <a:pt x="1496" y="2291"/>
                  </a:lnTo>
                  <a:lnTo>
                    <a:pt x="1504" y="2299"/>
                  </a:lnTo>
                  <a:lnTo>
                    <a:pt x="1511" y="2306"/>
                  </a:lnTo>
                  <a:lnTo>
                    <a:pt x="1518" y="2314"/>
                  </a:lnTo>
                  <a:lnTo>
                    <a:pt x="1525" y="2322"/>
                  </a:lnTo>
                  <a:lnTo>
                    <a:pt x="1530" y="2331"/>
                  </a:lnTo>
                  <a:lnTo>
                    <a:pt x="1542" y="2349"/>
                  </a:lnTo>
                  <a:lnTo>
                    <a:pt x="1550" y="2367"/>
                  </a:lnTo>
                  <a:lnTo>
                    <a:pt x="1557" y="2387"/>
                  </a:lnTo>
                  <a:lnTo>
                    <a:pt x="1563" y="2408"/>
                  </a:lnTo>
                  <a:lnTo>
                    <a:pt x="1566" y="2429"/>
                  </a:lnTo>
                  <a:lnTo>
                    <a:pt x="1567" y="2452"/>
                  </a:lnTo>
                  <a:lnTo>
                    <a:pt x="1566" y="2474"/>
                  </a:lnTo>
                  <a:lnTo>
                    <a:pt x="1563" y="2495"/>
                  </a:lnTo>
                  <a:lnTo>
                    <a:pt x="1557" y="2516"/>
                  </a:lnTo>
                  <a:lnTo>
                    <a:pt x="1550" y="2536"/>
                  </a:lnTo>
                  <a:lnTo>
                    <a:pt x="1542" y="2555"/>
                  </a:lnTo>
                  <a:lnTo>
                    <a:pt x="1530" y="2573"/>
                  </a:lnTo>
                  <a:lnTo>
                    <a:pt x="1525" y="2582"/>
                  </a:lnTo>
                  <a:lnTo>
                    <a:pt x="1518" y="2589"/>
                  </a:lnTo>
                  <a:lnTo>
                    <a:pt x="1511" y="2598"/>
                  </a:lnTo>
                  <a:lnTo>
                    <a:pt x="1504" y="2605"/>
                  </a:lnTo>
                  <a:lnTo>
                    <a:pt x="1496" y="2612"/>
                  </a:lnTo>
                  <a:lnTo>
                    <a:pt x="1488" y="2619"/>
                  </a:lnTo>
                  <a:lnTo>
                    <a:pt x="1480" y="2625"/>
                  </a:lnTo>
                  <a:lnTo>
                    <a:pt x="1472" y="2632"/>
                  </a:lnTo>
                  <a:lnTo>
                    <a:pt x="1455" y="2642"/>
                  </a:lnTo>
                  <a:lnTo>
                    <a:pt x="1435" y="2651"/>
                  </a:lnTo>
                  <a:lnTo>
                    <a:pt x="1415" y="2658"/>
                  </a:lnTo>
                  <a:lnTo>
                    <a:pt x="1394" y="2663"/>
                  </a:lnTo>
                  <a:lnTo>
                    <a:pt x="1373" y="2667"/>
                  </a:lnTo>
                  <a:lnTo>
                    <a:pt x="1351" y="266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1350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7"/>
            <p:cNvSpPr>
              <a:spLocks noEditPoints="1"/>
            </p:cNvSpPr>
            <p:nvPr/>
          </p:nvSpPr>
          <p:spPr bwMode="auto">
            <a:xfrm>
              <a:off x="5176838" y="2511426"/>
              <a:ext cx="919163" cy="1816100"/>
            </a:xfrm>
            <a:custGeom>
              <a:avLst/>
              <a:gdLst>
                <a:gd name="T0" fmla="*/ 1734 w 1735"/>
                <a:gd name="T1" fmla="*/ 0 h 3431"/>
                <a:gd name="T2" fmla="*/ 1734 w 1735"/>
                <a:gd name="T3" fmla="*/ 0 h 3431"/>
                <a:gd name="T4" fmla="*/ 1733 w 1735"/>
                <a:gd name="T5" fmla="*/ 0 h 3431"/>
                <a:gd name="T6" fmla="*/ 1733 w 1735"/>
                <a:gd name="T7" fmla="*/ 0 h 3431"/>
                <a:gd name="T8" fmla="*/ 1732 w 1735"/>
                <a:gd name="T9" fmla="*/ 0 h 3431"/>
                <a:gd name="T10" fmla="*/ 1731 w 1735"/>
                <a:gd name="T11" fmla="*/ 0 h 3431"/>
                <a:gd name="T12" fmla="*/ 1730 w 1735"/>
                <a:gd name="T13" fmla="*/ 0 h 3431"/>
                <a:gd name="T14" fmla="*/ 1729 w 1735"/>
                <a:gd name="T15" fmla="*/ 0 h 3431"/>
                <a:gd name="T16" fmla="*/ 1510 w 1735"/>
                <a:gd name="T17" fmla="*/ 14 h 3431"/>
                <a:gd name="T18" fmla="*/ 1298 w 1735"/>
                <a:gd name="T19" fmla="*/ 55 h 3431"/>
                <a:gd name="T20" fmla="*/ 1095 w 1735"/>
                <a:gd name="T21" fmla="*/ 121 h 3431"/>
                <a:gd name="T22" fmla="*/ 905 w 1735"/>
                <a:gd name="T23" fmla="*/ 210 h 3431"/>
                <a:gd name="T24" fmla="*/ 728 w 1735"/>
                <a:gd name="T25" fmla="*/ 320 h 3431"/>
                <a:gd name="T26" fmla="*/ 567 w 1735"/>
                <a:gd name="T27" fmla="*/ 451 h 3431"/>
                <a:gd name="T28" fmla="*/ 422 w 1735"/>
                <a:gd name="T29" fmla="*/ 600 h 3431"/>
                <a:gd name="T30" fmla="*/ 296 w 1735"/>
                <a:gd name="T31" fmla="*/ 765 h 3431"/>
                <a:gd name="T32" fmla="*/ 190 w 1735"/>
                <a:gd name="T33" fmla="*/ 945 h 3431"/>
                <a:gd name="T34" fmla="*/ 105 w 1735"/>
                <a:gd name="T35" fmla="*/ 1138 h 3431"/>
                <a:gd name="T36" fmla="*/ 45 w 1735"/>
                <a:gd name="T37" fmla="*/ 1344 h 3431"/>
                <a:gd name="T38" fmla="*/ 10 w 1735"/>
                <a:gd name="T39" fmla="*/ 1558 h 3431"/>
                <a:gd name="T40" fmla="*/ 1 w 1735"/>
                <a:gd name="T41" fmla="*/ 1773 h 3431"/>
                <a:gd name="T42" fmla="*/ 15 w 1735"/>
                <a:gd name="T43" fmla="*/ 1965 h 3431"/>
                <a:gd name="T44" fmla="*/ 50 w 1735"/>
                <a:gd name="T45" fmla="*/ 2150 h 3431"/>
                <a:gd name="T46" fmla="*/ 104 w 1735"/>
                <a:gd name="T47" fmla="*/ 2327 h 3431"/>
                <a:gd name="T48" fmla="*/ 175 w 1735"/>
                <a:gd name="T49" fmla="*/ 2496 h 3431"/>
                <a:gd name="T50" fmla="*/ 263 w 1735"/>
                <a:gd name="T51" fmla="*/ 2655 h 3431"/>
                <a:gd name="T52" fmla="*/ 367 w 1735"/>
                <a:gd name="T53" fmla="*/ 2803 h 3431"/>
                <a:gd name="T54" fmla="*/ 486 w 1735"/>
                <a:gd name="T55" fmla="*/ 2939 h 3431"/>
                <a:gd name="T56" fmla="*/ 617 w 1735"/>
                <a:gd name="T57" fmla="*/ 3063 h 3431"/>
                <a:gd name="T58" fmla="*/ 760 w 1735"/>
                <a:gd name="T59" fmla="*/ 3172 h 3431"/>
                <a:gd name="T60" fmla="*/ 916 w 1735"/>
                <a:gd name="T61" fmla="*/ 3266 h 3431"/>
                <a:gd name="T62" fmla="*/ 1080 w 1735"/>
                <a:gd name="T63" fmla="*/ 3343 h 3431"/>
                <a:gd name="T64" fmla="*/ 1254 w 1735"/>
                <a:gd name="T65" fmla="*/ 3403 h 3431"/>
                <a:gd name="T66" fmla="*/ 1365 w 1735"/>
                <a:gd name="T67" fmla="*/ 1847 h 3431"/>
                <a:gd name="T68" fmla="*/ 1446 w 1735"/>
                <a:gd name="T69" fmla="*/ 1748 h 3431"/>
                <a:gd name="T70" fmla="*/ 1498 w 1735"/>
                <a:gd name="T71" fmla="*/ 1735 h 3431"/>
                <a:gd name="T72" fmla="*/ 1498 w 1735"/>
                <a:gd name="T73" fmla="*/ 1735 h 3431"/>
                <a:gd name="T74" fmla="*/ 1498 w 1735"/>
                <a:gd name="T75" fmla="*/ 1735 h 3431"/>
                <a:gd name="T76" fmla="*/ 1498 w 1735"/>
                <a:gd name="T77" fmla="*/ 1735 h 3431"/>
                <a:gd name="T78" fmla="*/ 1704 w 1735"/>
                <a:gd name="T79" fmla="*/ 1735 h 3431"/>
                <a:gd name="T80" fmla="*/ 1730 w 1735"/>
                <a:gd name="T81" fmla="*/ 1729 h 3431"/>
                <a:gd name="T82" fmla="*/ 1735 w 1735"/>
                <a:gd name="T83" fmla="*/ 0 h 3431"/>
                <a:gd name="T84" fmla="*/ 1314 w 1735"/>
                <a:gd name="T85" fmla="*/ 1414 h 3431"/>
                <a:gd name="T86" fmla="*/ 1253 w 1735"/>
                <a:gd name="T87" fmla="*/ 1375 h 3431"/>
                <a:gd name="T88" fmla="*/ 1219 w 1735"/>
                <a:gd name="T89" fmla="*/ 1335 h 3431"/>
                <a:gd name="T90" fmla="*/ 1183 w 1735"/>
                <a:gd name="T91" fmla="*/ 1236 h 3431"/>
                <a:gd name="T92" fmla="*/ 1199 w 1735"/>
                <a:gd name="T93" fmla="*/ 1130 h 3431"/>
                <a:gd name="T94" fmla="*/ 1238 w 1735"/>
                <a:gd name="T95" fmla="*/ 1068 h 3431"/>
                <a:gd name="T96" fmla="*/ 1277 w 1735"/>
                <a:gd name="T97" fmla="*/ 1034 h 3431"/>
                <a:gd name="T98" fmla="*/ 1376 w 1735"/>
                <a:gd name="T99" fmla="*/ 998 h 3431"/>
                <a:gd name="T100" fmla="*/ 1482 w 1735"/>
                <a:gd name="T101" fmla="*/ 1014 h 3431"/>
                <a:gd name="T102" fmla="*/ 1544 w 1735"/>
                <a:gd name="T103" fmla="*/ 1053 h 3431"/>
                <a:gd name="T104" fmla="*/ 1578 w 1735"/>
                <a:gd name="T105" fmla="*/ 1093 h 3431"/>
                <a:gd name="T106" fmla="*/ 1614 w 1735"/>
                <a:gd name="T107" fmla="*/ 1192 h 3431"/>
                <a:gd name="T108" fmla="*/ 1598 w 1735"/>
                <a:gd name="T109" fmla="*/ 1298 h 3431"/>
                <a:gd name="T110" fmla="*/ 1558 w 1735"/>
                <a:gd name="T111" fmla="*/ 1360 h 3431"/>
                <a:gd name="T112" fmla="*/ 1519 w 1735"/>
                <a:gd name="T113" fmla="*/ 1394 h 3431"/>
                <a:gd name="T114" fmla="*/ 1421 w 1735"/>
                <a:gd name="T115" fmla="*/ 1430 h 3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35" h="3431">
                  <a:moveTo>
                    <a:pt x="1735" y="0"/>
                  </a:move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2" y="0"/>
                  </a:lnTo>
                  <a:lnTo>
                    <a:pt x="1732" y="0"/>
                  </a:lnTo>
                  <a:lnTo>
                    <a:pt x="1732" y="0"/>
                  </a:lnTo>
                  <a:lnTo>
                    <a:pt x="1732" y="0"/>
                  </a:lnTo>
                  <a:lnTo>
                    <a:pt x="1732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29" y="0"/>
                  </a:lnTo>
                  <a:lnTo>
                    <a:pt x="1685" y="1"/>
                  </a:lnTo>
                  <a:lnTo>
                    <a:pt x="1641" y="2"/>
                  </a:lnTo>
                  <a:lnTo>
                    <a:pt x="1597" y="6"/>
                  </a:lnTo>
                  <a:lnTo>
                    <a:pt x="1553" y="10"/>
                  </a:lnTo>
                  <a:lnTo>
                    <a:pt x="1510" y="14"/>
                  </a:lnTo>
                  <a:lnTo>
                    <a:pt x="1466" y="21"/>
                  </a:lnTo>
                  <a:lnTo>
                    <a:pt x="1424" y="28"/>
                  </a:lnTo>
                  <a:lnTo>
                    <a:pt x="1381" y="35"/>
                  </a:lnTo>
                  <a:lnTo>
                    <a:pt x="1339" y="45"/>
                  </a:lnTo>
                  <a:lnTo>
                    <a:pt x="1298" y="55"/>
                  </a:lnTo>
                  <a:lnTo>
                    <a:pt x="1256" y="66"/>
                  </a:lnTo>
                  <a:lnTo>
                    <a:pt x="1215" y="78"/>
                  </a:lnTo>
                  <a:lnTo>
                    <a:pt x="1175" y="92"/>
                  </a:lnTo>
                  <a:lnTo>
                    <a:pt x="1135" y="106"/>
                  </a:lnTo>
                  <a:lnTo>
                    <a:pt x="1095" y="121"/>
                  </a:lnTo>
                  <a:lnTo>
                    <a:pt x="1057" y="136"/>
                  </a:lnTo>
                  <a:lnTo>
                    <a:pt x="1018" y="154"/>
                  </a:lnTo>
                  <a:lnTo>
                    <a:pt x="980" y="172"/>
                  </a:lnTo>
                  <a:lnTo>
                    <a:pt x="943" y="191"/>
                  </a:lnTo>
                  <a:lnTo>
                    <a:pt x="905" y="210"/>
                  </a:lnTo>
                  <a:lnTo>
                    <a:pt x="869" y="230"/>
                  </a:lnTo>
                  <a:lnTo>
                    <a:pt x="833" y="251"/>
                  </a:lnTo>
                  <a:lnTo>
                    <a:pt x="797" y="274"/>
                  </a:lnTo>
                  <a:lnTo>
                    <a:pt x="763" y="297"/>
                  </a:lnTo>
                  <a:lnTo>
                    <a:pt x="728" y="320"/>
                  </a:lnTo>
                  <a:lnTo>
                    <a:pt x="695" y="345"/>
                  </a:lnTo>
                  <a:lnTo>
                    <a:pt x="662" y="370"/>
                  </a:lnTo>
                  <a:lnTo>
                    <a:pt x="630" y="397"/>
                  </a:lnTo>
                  <a:lnTo>
                    <a:pt x="598" y="424"/>
                  </a:lnTo>
                  <a:lnTo>
                    <a:pt x="567" y="451"/>
                  </a:lnTo>
                  <a:lnTo>
                    <a:pt x="536" y="479"/>
                  </a:lnTo>
                  <a:lnTo>
                    <a:pt x="507" y="509"/>
                  </a:lnTo>
                  <a:lnTo>
                    <a:pt x="478" y="539"/>
                  </a:lnTo>
                  <a:lnTo>
                    <a:pt x="450" y="568"/>
                  </a:lnTo>
                  <a:lnTo>
                    <a:pt x="422" y="600"/>
                  </a:lnTo>
                  <a:lnTo>
                    <a:pt x="395" y="632"/>
                  </a:lnTo>
                  <a:lnTo>
                    <a:pt x="369" y="664"/>
                  </a:lnTo>
                  <a:lnTo>
                    <a:pt x="344" y="697"/>
                  </a:lnTo>
                  <a:lnTo>
                    <a:pt x="319" y="731"/>
                  </a:lnTo>
                  <a:lnTo>
                    <a:pt x="296" y="765"/>
                  </a:lnTo>
                  <a:lnTo>
                    <a:pt x="273" y="800"/>
                  </a:lnTo>
                  <a:lnTo>
                    <a:pt x="250" y="835"/>
                  </a:lnTo>
                  <a:lnTo>
                    <a:pt x="229" y="871"/>
                  </a:lnTo>
                  <a:lnTo>
                    <a:pt x="209" y="909"/>
                  </a:lnTo>
                  <a:lnTo>
                    <a:pt x="190" y="945"/>
                  </a:lnTo>
                  <a:lnTo>
                    <a:pt x="171" y="983"/>
                  </a:lnTo>
                  <a:lnTo>
                    <a:pt x="153" y="1021"/>
                  </a:lnTo>
                  <a:lnTo>
                    <a:pt x="136" y="1060"/>
                  </a:lnTo>
                  <a:lnTo>
                    <a:pt x="120" y="1099"/>
                  </a:lnTo>
                  <a:lnTo>
                    <a:pt x="105" y="1138"/>
                  </a:lnTo>
                  <a:lnTo>
                    <a:pt x="91" y="1179"/>
                  </a:lnTo>
                  <a:lnTo>
                    <a:pt x="79" y="1219"/>
                  </a:lnTo>
                  <a:lnTo>
                    <a:pt x="66" y="1260"/>
                  </a:lnTo>
                  <a:lnTo>
                    <a:pt x="55" y="1301"/>
                  </a:lnTo>
                  <a:lnTo>
                    <a:pt x="45" y="1344"/>
                  </a:lnTo>
                  <a:lnTo>
                    <a:pt x="35" y="1385"/>
                  </a:lnTo>
                  <a:lnTo>
                    <a:pt x="28" y="1428"/>
                  </a:lnTo>
                  <a:lnTo>
                    <a:pt x="20" y="1471"/>
                  </a:lnTo>
                  <a:lnTo>
                    <a:pt x="14" y="1514"/>
                  </a:lnTo>
                  <a:lnTo>
                    <a:pt x="10" y="1558"/>
                  </a:lnTo>
                  <a:lnTo>
                    <a:pt x="5" y="1601"/>
                  </a:lnTo>
                  <a:lnTo>
                    <a:pt x="2" y="1646"/>
                  </a:lnTo>
                  <a:lnTo>
                    <a:pt x="1" y="1690"/>
                  </a:lnTo>
                  <a:lnTo>
                    <a:pt x="0" y="1735"/>
                  </a:lnTo>
                  <a:lnTo>
                    <a:pt x="1" y="1773"/>
                  </a:lnTo>
                  <a:lnTo>
                    <a:pt x="2" y="1813"/>
                  </a:lnTo>
                  <a:lnTo>
                    <a:pt x="4" y="1851"/>
                  </a:lnTo>
                  <a:lnTo>
                    <a:pt x="7" y="1889"/>
                  </a:lnTo>
                  <a:lnTo>
                    <a:pt x="11" y="1928"/>
                  </a:lnTo>
                  <a:lnTo>
                    <a:pt x="15" y="1965"/>
                  </a:lnTo>
                  <a:lnTo>
                    <a:pt x="21" y="2002"/>
                  </a:lnTo>
                  <a:lnTo>
                    <a:pt x="27" y="2039"/>
                  </a:lnTo>
                  <a:lnTo>
                    <a:pt x="34" y="2077"/>
                  </a:lnTo>
                  <a:lnTo>
                    <a:pt x="41" y="2114"/>
                  </a:lnTo>
                  <a:lnTo>
                    <a:pt x="50" y="2150"/>
                  </a:lnTo>
                  <a:lnTo>
                    <a:pt x="59" y="2186"/>
                  </a:lnTo>
                  <a:lnTo>
                    <a:pt x="69" y="2221"/>
                  </a:lnTo>
                  <a:lnTo>
                    <a:pt x="80" y="2257"/>
                  </a:lnTo>
                  <a:lnTo>
                    <a:pt x="91" y="2292"/>
                  </a:lnTo>
                  <a:lnTo>
                    <a:pt x="104" y="2327"/>
                  </a:lnTo>
                  <a:lnTo>
                    <a:pt x="117" y="2362"/>
                  </a:lnTo>
                  <a:lnTo>
                    <a:pt x="130" y="2396"/>
                  </a:lnTo>
                  <a:lnTo>
                    <a:pt x="144" y="2430"/>
                  </a:lnTo>
                  <a:lnTo>
                    <a:pt x="159" y="2463"/>
                  </a:lnTo>
                  <a:lnTo>
                    <a:pt x="175" y="2496"/>
                  </a:lnTo>
                  <a:lnTo>
                    <a:pt x="192" y="2529"/>
                  </a:lnTo>
                  <a:lnTo>
                    <a:pt x="209" y="2561"/>
                  </a:lnTo>
                  <a:lnTo>
                    <a:pt x="226" y="2592"/>
                  </a:lnTo>
                  <a:lnTo>
                    <a:pt x="244" y="2623"/>
                  </a:lnTo>
                  <a:lnTo>
                    <a:pt x="263" y="2655"/>
                  </a:lnTo>
                  <a:lnTo>
                    <a:pt x="283" y="2685"/>
                  </a:lnTo>
                  <a:lnTo>
                    <a:pt x="303" y="2716"/>
                  </a:lnTo>
                  <a:lnTo>
                    <a:pt x="323" y="2745"/>
                  </a:lnTo>
                  <a:lnTo>
                    <a:pt x="345" y="2774"/>
                  </a:lnTo>
                  <a:lnTo>
                    <a:pt x="367" y="2803"/>
                  </a:lnTo>
                  <a:lnTo>
                    <a:pt x="389" y="2831"/>
                  </a:lnTo>
                  <a:lnTo>
                    <a:pt x="412" y="2859"/>
                  </a:lnTo>
                  <a:lnTo>
                    <a:pt x="436" y="2886"/>
                  </a:lnTo>
                  <a:lnTo>
                    <a:pt x="460" y="2913"/>
                  </a:lnTo>
                  <a:lnTo>
                    <a:pt x="486" y="2939"/>
                  </a:lnTo>
                  <a:lnTo>
                    <a:pt x="511" y="2965"/>
                  </a:lnTo>
                  <a:lnTo>
                    <a:pt x="536" y="2990"/>
                  </a:lnTo>
                  <a:lnTo>
                    <a:pt x="563" y="3015"/>
                  </a:lnTo>
                  <a:lnTo>
                    <a:pt x="589" y="3039"/>
                  </a:lnTo>
                  <a:lnTo>
                    <a:pt x="617" y="3063"/>
                  </a:lnTo>
                  <a:lnTo>
                    <a:pt x="645" y="3086"/>
                  </a:lnTo>
                  <a:lnTo>
                    <a:pt x="673" y="3108"/>
                  </a:lnTo>
                  <a:lnTo>
                    <a:pt x="702" y="3130"/>
                  </a:lnTo>
                  <a:lnTo>
                    <a:pt x="730" y="3151"/>
                  </a:lnTo>
                  <a:lnTo>
                    <a:pt x="760" y="3172"/>
                  </a:lnTo>
                  <a:lnTo>
                    <a:pt x="791" y="3191"/>
                  </a:lnTo>
                  <a:lnTo>
                    <a:pt x="822" y="3211"/>
                  </a:lnTo>
                  <a:lnTo>
                    <a:pt x="852" y="3230"/>
                  </a:lnTo>
                  <a:lnTo>
                    <a:pt x="884" y="3248"/>
                  </a:lnTo>
                  <a:lnTo>
                    <a:pt x="916" y="3266"/>
                  </a:lnTo>
                  <a:lnTo>
                    <a:pt x="948" y="3283"/>
                  </a:lnTo>
                  <a:lnTo>
                    <a:pt x="981" y="3299"/>
                  </a:lnTo>
                  <a:lnTo>
                    <a:pt x="1014" y="3314"/>
                  </a:lnTo>
                  <a:lnTo>
                    <a:pt x="1046" y="3328"/>
                  </a:lnTo>
                  <a:lnTo>
                    <a:pt x="1080" y="3343"/>
                  </a:lnTo>
                  <a:lnTo>
                    <a:pt x="1114" y="3356"/>
                  </a:lnTo>
                  <a:lnTo>
                    <a:pt x="1149" y="3369"/>
                  </a:lnTo>
                  <a:lnTo>
                    <a:pt x="1184" y="3382"/>
                  </a:lnTo>
                  <a:lnTo>
                    <a:pt x="1219" y="3392"/>
                  </a:lnTo>
                  <a:lnTo>
                    <a:pt x="1254" y="3403"/>
                  </a:lnTo>
                  <a:lnTo>
                    <a:pt x="1290" y="3412"/>
                  </a:lnTo>
                  <a:lnTo>
                    <a:pt x="1326" y="3422"/>
                  </a:lnTo>
                  <a:lnTo>
                    <a:pt x="1362" y="3431"/>
                  </a:lnTo>
                  <a:lnTo>
                    <a:pt x="1362" y="1873"/>
                  </a:lnTo>
                  <a:lnTo>
                    <a:pt x="1365" y="1847"/>
                  </a:lnTo>
                  <a:lnTo>
                    <a:pt x="1374" y="1821"/>
                  </a:lnTo>
                  <a:lnTo>
                    <a:pt x="1387" y="1798"/>
                  </a:lnTo>
                  <a:lnTo>
                    <a:pt x="1403" y="1778"/>
                  </a:lnTo>
                  <a:lnTo>
                    <a:pt x="1423" y="1761"/>
                  </a:lnTo>
                  <a:lnTo>
                    <a:pt x="1446" y="1748"/>
                  </a:lnTo>
                  <a:lnTo>
                    <a:pt x="1470" y="1739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691" y="1735"/>
                  </a:lnTo>
                  <a:lnTo>
                    <a:pt x="1697" y="1735"/>
                  </a:lnTo>
                  <a:lnTo>
                    <a:pt x="1704" y="1735"/>
                  </a:lnTo>
                  <a:lnTo>
                    <a:pt x="1711" y="1735"/>
                  </a:lnTo>
                  <a:lnTo>
                    <a:pt x="1719" y="1734"/>
                  </a:lnTo>
                  <a:lnTo>
                    <a:pt x="1723" y="1733"/>
                  </a:lnTo>
                  <a:lnTo>
                    <a:pt x="1727" y="1732"/>
                  </a:lnTo>
                  <a:lnTo>
                    <a:pt x="1730" y="1729"/>
                  </a:lnTo>
                  <a:lnTo>
                    <a:pt x="1732" y="1727"/>
                  </a:lnTo>
                  <a:lnTo>
                    <a:pt x="1733" y="1724"/>
                  </a:lnTo>
                  <a:lnTo>
                    <a:pt x="1734" y="1720"/>
                  </a:lnTo>
                  <a:lnTo>
                    <a:pt x="1734" y="1717"/>
                  </a:lnTo>
                  <a:lnTo>
                    <a:pt x="1735" y="0"/>
                  </a:lnTo>
                  <a:close/>
                  <a:moveTo>
                    <a:pt x="1398" y="1431"/>
                  </a:moveTo>
                  <a:lnTo>
                    <a:pt x="1376" y="1430"/>
                  </a:lnTo>
                  <a:lnTo>
                    <a:pt x="1355" y="1427"/>
                  </a:lnTo>
                  <a:lnTo>
                    <a:pt x="1334" y="1421"/>
                  </a:lnTo>
                  <a:lnTo>
                    <a:pt x="1314" y="1414"/>
                  </a:lnTo>
                  <a:lnTo>
                    <a:pt x="1296" y="1404"/>
                  </a:lnTo>
                  <a:lnTo>
                    <a:pt x="1277" y="1394"/>
                  </a:lnTo>
                  <a:lnTo>
                    <a:pt x="1269" y="1387"/>
                  </a:lnTo>
                  <a:lnTo>
                    <a:pt x="1261" y="1381"/>
                  </a:lnTo>
                  <a:lnTo>
                    <a:pt x="1253" y="1375"/>
                  </a:lnTo>
                  <a:lnTo>
                    <a:pt x="1246" y="1367"/>
                  </a:lnTo>
                  <a:lnTo>
                    <a:pt x="1238" y="1360"/>
                  </a:lnTo>
                  <a:lnTo>
                    <a:pt x="1231" y="1352"/>
                  </a:lnTo>
                  <a:lnTo>
                    <a:pt x="1224" y="1344"/>
                  </a:lnTo>
                  <a:lnTo>
                    <a:pt x="1219" y="1335"/>
                  </a:lnTo>
                  <a:lnTo>
                    <a:pt x="1209" y="1317"/>
                  </a:lnTo>
                  <a:lnTo>
                    <a:pt x="1199" y="1298"/>
                  </a:lnTo>
                  <a:lnTo>
                    <a:pt x="1192" y="1279"/>
                  </a:lnTo>
                  <a:lnTo>
                    <a:pt x="1186" y="1258"/>
                  </a:lnTo>
                  <a:lnTo>
                    <a:pt x="1183" y="1236"/>
                  </a:lnTo>
                  <a:lnTo>
                    <a:pt x="1182" y="1214"/>
                  </a:lnTo>
                  <a:lnTo>
                    <a:pt x="1183" y="1192"/>
                  </a:lnTo>
                  <a:lnTo>
                    <a:pt x="1186" y="1170"/>
                  </a:lnTo>
                  <a:lnTo>
                    <a:pt x="1192" y="1149"/>
                  </a:lnTo>
                  <a:lnTo>
                    <a:pt x="1199" y="1130"/>
                  </a:lnTo>
                  <a:lnTo>
                    <a:pt x="1209" y="1111"/>
                  </a:lnTo>
                  <a:lnTo>
                    <a:pt x="1219" y="1093"/>
                  </a:lnTo>
                  <a:lnTo>
                    <a:pt x="1224" y="1084"/>
                  </a:lnTo>
                  <a:lnTo>
                    <a:pt x="1231" y="1076"/>
                  </a:lnTo>
                  <a:lnTo>
                    <a:pt x="1238" y="1068"/>
                  </a:lnTo>
                  <a:lnTo>
                    <a:pt x="1246" y="1061"/>
                  </a:lnTo>
                  <a:lnTo>
                    <a:pt x="1253" y="1053"/>
                  </a:lnTo>
                  <a:lnTo>
                    <a:pt x="1261" y="1047"/>
                  </a:lnTo>
                  <a:lnTo>
                    <a:pt x="1269" y="1041"/>
                  </a:lnTo>
                  <a:lnTo>
                    <a:pt x="1277" y="1034"/>
                  </a:lnTo>
                  <a:lnTo>
                    <a:pt x="1296" y="1024"/>
                  </a:lnTo>
                  <a:lnTo>
                    <a:pt x="1314" y="1014"/>
                  </a:lnTo>
                  <a:lnTo>
                    <a:pt x="1334" y="1007"/>
                  </a:lnTo>
                  <a:lnTo>
                    <a:pt x="1355" y="1001"/>
                  </a:lnTo>
                  <a:lnTo>
                    <a:pt x="1376" y="998"/>
                  </a:lnTo>
                  <a:lnTo>
                    <a:pt x="1398" y="997"/>
                  </a:lnTo>
                  <a:lnTo>
                    <a:pt x="1421" y="998"/>
                  </a:lnTo>
                  <a:lnTo>
                    <a:pt x="1442" y="1001"/>
                  </a:lnTo>
                  <a:lnTo>
                    <a:pt x="1462" y="1007"/>
                  </a:lnTo>
                  <a:lnTo>
                    <a:pt x="1482" y="1014"/>
                  </a:lnTo>
                  <a:lnTo>
                    <a:pt x="1501" y="1024"/>
                  </a:lnTo>
                  <a:lnTo>
                    <a:pt x="1519" y="1034"/>
                  </a:lnTo>
                  <a:lnTo>
                    <a:pt x="1528" y="1041"/>
                  </a:lnTo>
                  <a:lnTo>
                    <a:pt x="1535" y="1047"/>
                  </a:lnTo>
                  <a:lnTo>
                    <a:pt x="1544" y="1053"/>
                  </a:lnTo>
                  <a:lnTo>
                    <a:pt x="1551" y="1061"/>
                  </a:lnTo>
                  <a:lnTo>
                    <a:pt x="1558" y="1068"/>
                  </a:lnTo>
                  <a:lnTo>
                    <a:pt x="1565" y="1076"/>
                  </a:lnTo>
                  <a:lnTo>
                    <a:pt x="1571" y="1084"/>
                  </a:lnTo>
                  <a:lnTo>
                    <a:pt x="1578" y="1093"/>
                  </a:lnTo>
                  <a:lnTo>
                    <a:pt x="1588" y="1111"/>
                  </a:lnTo>
                  <a:lnTo>
                    <a:pt x="1598" y="1130"/>
                  </a:lnTo>
                  <a:lnTo>
                    <a:pt x="1604" y="1149"/>
                  </a:lnTo>
                  <a:lnTo>
                    <a:pt x="1609" y="1170"/>
                  </a:lnTo>
                  <a:lnTo>
                    <a:pt x="1614" y="1192"/>
                  </a:lnTo>
                  <a:lnTo>
                    <a:pt x="1615" y="1214"/>
                  </a:lnTo>
                  <a:lnTo>
                    <a:pt x="1614" y="1236"/>
                  </a:lnTo>
                  <a:lnTo>
                    <a:pt x="1609" y="1258"/>
                  </a:lnTo>
                  <a:lnTo>
                    <a:pt x="1604" y="1279"/>
                  </a:lnTo>
                  <a:lnTo>
                    <a:pt x="1598" y="1298"/>
                  </a:lnTo>
                  <a:lnTo>
                    <a:pt x="1588" y="1317"/>
                  </a:lnTo>
                  <a:lnTo>
                    <a:pt x="1578" y="1335"/>
                  </a:lnTo>
                  <a:lnTo>
                    <a:pt x="1571" y="1344"/>
                  </a:lnTo>
                  <a:lnTo>
                    <a:pt x="1565" y="1352"/>
                  </a:lnTo>
                  <a:lnTo>
                    <a:pt x="1558" y="1360"/>
                  </a:lnTo>
                  <a:lnTo>
                    <a:pt x="1551" y="1367"/>
                  </a:lnTo>
                  <a:lnTo>
                    <a:pt x="1544" y="1375"/>
                  </a:lnTo>
                  <a:lnTo>
                    <a:pt x="1535" y="1381"/>
                  </a:lnTo>
                  <a:lnTo>
                    <a:pt x="1528" y="1387"/>
                  </a:lnTo>
                  <a:lnTo>
                    <a:pt x="1519" y="1394"/>
                  </a:lnTo>
                  <a:lnTo>
                    <a:pt x="1501" y="1404"/>
                  </a:lnTo>
                  <a:lnTo>
                    <a:pt x="1482" y="1414"/>
                  </a:lnTo>
                  <a:lnTo>
                    <a:pt x="1462" y="1421"/>
                  </a:lnTo>
                  <a:lnTo>
                    <a:pt x="1442" y="1427"/>
                  </a:lnTo>
                  <a:lnTo>
                    <a:pt x="1421" y="1430"/>
                  </a:lnTo>
                  <a:lnTo>
                    <a:pt x="1398" y="143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800"/>
              <a:endParaRPr lang="ru-RU" sz="1350" dirty="0">
                <a:solidFill>
                  <a:srgbClr val="000000"/>
                </a:solidFill>
              </a:endParaRPr>
            </a:p>
          </p:txBody>
        </p:sp>
      </p:grpSp>
      <p:cxnSp>
        <p:nvCxnSpPr>
          <p:cNvPr id="20" name="Прямая соединительная линия 71"/>
          <p:cNvCxnSpPr/>
          <p:nvPr userDrawn="1"/>
        </p:nvCxnSpPr>
        <p:spPr>
          <a:xfrm>
            <a:off x="0" y="728507"/>
            <a:ext cx="9146932" cy="0"/>
          </a:xfrm>
          <a:prstGeom prst="line">
            <a:avLst/>
          </a:prstGeom>
          <a:noFill/>
          <a:ln w="9525" cap="flat" cmpd="sng" algn="ctr">
            <a:solidFill>
              <a:srgbClr val="616365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17336928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</p:sldLayoutIdLst>
  <p:hf hdr="0" ftr="0" dt="0"/>
  <p:txStyles>
    <p:titleStyle>
      <a:lvl1pPr algn="l" defTabSz="685595" rtl="0" eaLnBrk="1" latinLnBrk="0" hangingPunct="1">
        <a:spcBef>
          <a:spcPct val="0"/>
        </a:spcBef>
        <a:buNone/>
        <a:defRPr sz="1799" b="0" kern="1200">
          <a:solidFill>
            <a:srgbClr val="57088C"/>
          </a:solidFill>
          <a:latin typeface="+mj-lt"/>
          <a:ea typeface="+mj-ea"/>
          <a:cs typeface="+mj-cs"/>
        </a:defRPr>
      </a:lvl1pPr>
    </p:titleStyle>
    <p:bodyStyle>
      <a:lvl1pPr marL="0" indent="0" algn="l" defTabSz="685595" rtl="0" eaLnBrk="1" latinLnBrk="0" hangingPunct="1">
        <a:spcBef>
          <a:spcPct val="20000"/>
        </a:spcBef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42797" indent="-171398" algn="l" defTabSz="685595" rtl="0" eaLnBrk="1" latinLnBrk="0" hangingPunct="1">
        <a:spcBef>
          <a:spcPct val="20000"/>
        </a:spcBef>
        <a:buClr>
          <a:srgbClr val="57088C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685595" indent="-171398" algn="l" defTabSz="685595" rtl="0" eaLnBrk="1" latinLnBrk="0" hangingPunct="1">
        <a:spcBef>
          <a:spcPct val="20000"/>
        </a:spcBef>
        <a:buClr>
          <a:srgbClr val="57088C"/>
        </a:buClr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031963" indent="-174969" algn="l" defTabSz="685595" rtl="0" eaLnBrk="1" latinLnBrk="0" hangingPunct="1">
        <a:spcBef>
          <a:spcPct val="20000"/>
        </a:spcBef>
        <a:buClr>
          <a:srgbClr val="57088C"/>
        </a:buClr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543778" indent="-172589" algn="l" defTabSz="685595" rtl="0" eaLnBrk="1" latinLnBrk="0" hangingPunct="1">
        <a:spcBef>
          <a:spcPct val="20000"/>
        </a:spcBef>
        <a:buClr>
          <a:srgbClr val="57088C"/>
        </a:buClr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1885385" indent="-171398" algn="l" defTabSz="685595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6pPr>
      <a:lvl7pPr marL="2228181" indent="-171398" algn="l" defTabSz="685595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7pPr>
      <a:lvl8pPr marL="2570978" indent="-171398" algn="l" defTabSz="685595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8pPr>
      <a:lvl9pPr marL="2913776" indent="-171398" algn="l" defTabSz="685595" rtl="0" eaLnBrk="1" latinLnBrk="0" hangingPunct="1">
        <a:spcBef>
          <a:spcPct val="20000"/>
        </a:spcBef>
        <a:buFont typeface="Arial" pitchFamily="34" charset="0"/>
        <a:buChar char="•"/>
        <a:defRPr sz="149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59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1pPr>
      <a:lvl2pPr marL="342797" algn="l" defTabSz="68559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2pPr>
      <a:lvl3pPr marL="685595" algn="l" defTabSz="68559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3pPr>
      <a:lvl4pPr marL="1028392" algn="l" defTabSz="68559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4pPr>
      <a:lvl5pPr marL="1371188" algn="l" defTabSz="68559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5pPr>
      <a:lvl6pPr marL="1713986" algn="l" defTabSz="68559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6pPr>
      <a:lvl7pPr marL="2056783" algn="l" defTabSz="68559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7pPr>
      <a:lvl8pPr marL="2399580" algn="l" defTabSz="68559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8pPr>
      <a:lvl9pPr marL="2742377" algn="l" defTabSz="685595" rtl="0" eaLnBrk="1" latinLnBrk="0" hangingPunct="1">
        <a:defRPr sz="134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/>
          </p:nvPr>
        </p:nvGraphicFramePr>
        <p:xfrm>
          <a:off x="1467" y="1192"/>
          <a:ext cx="1465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6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467" y="1192"/>
                        <a:ext cx="1465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22030" y="0"/>
            <a:ext cx="7763025" cy="728507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/>
          <a:p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22031" y="1131649"/>
            <a:ext cx="8301046" cy="34435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/>
          </a:p>
        </p:txBody>
      </p:sp>
      <p:sp>
        <p:nvSpPr>
          <p:cNvPr id="7" name="FooterSimple"/>
          <p:cNvSpPr/>
          <p:nvPr userDrawn="1">
            <p:custDataLst>
              <p:tags r:id="rId8"/>
            </p:custDataLst>
          </p:nvPr>
        </p:nvSpPr>
        <p:spPr>
          <a:xfrm>
            <a:off x="422032" y="5026252"/>
            <a:ext cx="594830" cy="8081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defTabSz="685983"/>
            <a:r>
              <a:rPr lang="en-US" sz="525" smtClean="0">
                <a:solidFill>
                  <a:srgbClr val="898989"/>
                </a:solidFill>
              </a:rPr>
              <a:t>MF Digital Russia-10pager-27Jul17-YL-MOS-v8.pptx</a:t>
            </a:r>
            <a:endParaRPr lang="en-US" sz="525" dirty="0">
              <a:solidFill>
                <a:srgbClr val="898989"/>
              </a:solidFill>
            </a:endParaRPr>
          </a:p>
        </p:txBody>
      </p:sp>
      <p:sp>
        <p:nvSpPr>
          <p:cNvPr id="10" name="TextBox 9"/>
          <p:cNvSpPr txBox="1"/>
          <p:nvPr userDrawn="1"/>
        </p:nvSpPr>
        <p:spPr>
          <a:xfrm>
            <a:off x="8546954" y="5007346"/>
            <a:ext cx="175846" cy="95279"/>
          </a:xfrm>
          <a:prstGeom prst="rect">
            <a:avLst/>
          </a:prstGeom>
          <a:noFill/>
          <a:ln/>
          <a:effectLst/>
        </p:spPr>
        <p:txBody>
          <a:bodyPr wrap="none" lIns="0" tIns="0" rIns="0" bIns="0" rtlCol="0">
            <a:noAutofit/>
          </a:bodyPr>
          <a:lstStyle/>
          <a:p>
            <a:pPr algn="r" defTabSz="685777">
              <a:defRPr/>
            </a:pPr>
            <a:fld id="{9D53E389-1311-4796-9190-1F74A8EADEA2}" type="slidenum">
              <a:rPr lang="en-US" sz="675" smtClean="0">
                <a:solidFill>
                  <a:srgbClr val="898989"/>
                </a:solidFill>
              </a:rPr>
              <a:pPr algn="r" defTabSz="685777">
                <a:defRPr/>
              </a:pPr>
              <a:t>‹#›</a:t>
            </a:fld>
            <a:endParaRPr lang="en-US" sz="675" smtClean="0">
              <a:solidFill>
                <a:srgbClr val="898989"/>
              </a:solidFill>
            </a:endParaRPr>
          </a:p>
          <a:p>
            <a:pPr defTabSz="685983"/>
            <a:endParaRPr lang="en-US" sz="675" dirty="0" smtClean="0">
              <a:solidFill>
                <a:srgbClr val="898989"/>
              </a:solidFill>
            </a:endParaRPr>
          </a:p>
        </p:txBody>
      </p:sp>
      <p:grpSp>
        <p:nvGrpSpPr>
          <p:cNvPr id="17" name="Group 16"/>
          <p:cNvGrpSpPr>
            <a:grpSpLocks noChangeAspect="1"/>
          </p:cNvGrpSpPr>
          <p:nvPr userDrawn="1"/>
        </p:nvGrpSpPr>
        <p:grpSpPr>
          <a:xfrm>
            <a:off x="8453424" y="159206"/>
            <a:ext cx="398976" cy="325288"/>
            <a:chOff x="5176838" y="2511426"/>
            <a:chExt cx="1830388" cy="1836737"/>
          </a:xfrm>
          <a:solidFill>
            <a:srgbClr val="00985F"/>
          </a:solidFill>
        </p:grpSpPr>
        <p:sp>
          <p:nvSpPr>
            <p:cNvPr id="18" name="Freeform 6"/>
            <p:cNvSpPr>
              <a:spLocks noEditPoints="1"/>
            </p:cNvSpPr>
            <p:nvPr/>
          </p:nvSpPr>
          <p:spPr bwMode="auto">
            <a:xfrm>
              <a:off x="6008688" y="2519363"/>
              <a:ext cx="998538" cy="1828800"/>
            </a:xfrm>
            <a:custGeom>
              <a:avLst/>
              <a:gdLst>
                <a:gd name="T0" fmla="*/ 373 w 1888"/>
                <a:gd name="T1" fmla="*/ 1790 h 3457"/>
                <a:gd name="T2" fmla="*/ 372 w 1888"/>
                <a:gd name="T3" fmla="*/ 1790 h 3457"/>
                <a:gd name="T4" fmla="*/ 372 w 1888"/>
                <a:gd name="T5" fmla="*/ 1790 h 3457"/>
                <a:gd name="T6" fmla="*/ 372 w 1888"/>
                <a:gd name="T7" fmla="*/ 1790 h 3457"/>
                <a:gd name="T8" fmla="*/ 283 w 1888"/>
                <a:gd name="T9" fmla="*/ 1921 h 3457"/>
                <a:gd name="T10" fmla="*/ 15 w 1888"/>
                <a:gd name="T11" fmla="*/ 1931 h 3457"/>
                <a:gd name="T12" fmla="*/ 0 w 1888"/>
                <a:gd name="T13" fmla="*/ 1950 h 3457"/>
                <a:gd name="T14" fmla="*/ 336 w 1888"/>
                <a:gd name="T15" fmla="*/ 3447 h 3457"/>
                <a:gd name="T16" fmla="*/ 633 w 1888"/>
                <a:gd name="T17" fmla="*/ 3391 h 3457"/>
                <a:gd name="T18" fmla="*/ 910 w 1888"/>
                <a:gd name="T19" fmla="*/ 3286 h 3457"/>
                <a:gd name="T20" fmla="*/ 1161 w 1888"/>
                <a:gd name="T21" fmla="*/ 3137 h 3457"/>
                <a:gd name="T22" fmla="*/ 1382 w 1888"/>
                <a:gd name="T23" fmla="*/ 2949 h 3457"/>
                <a:gd name="T24" fmla="*/ 1570 w 1888"/>
                <a:gd name="T25" fmla="*/ 2726 h 3457"/>
                <a:gd name="T26" fmla="*/ 1719 w 1888"/>
                <a:gd name="T27" fmla="*/ 2474 h 3457"/>
                <a:gd name="T28" fmla="*/ 1822 w 1888"/>
                <a:gd name="T29" fmla="*/ 2197 h 3457"/>
                <a:gd name="T30" fmla="*/ 1880 w 1888"/>
                <a:gd name="T31" fmla="*/ 1900 h 3457"/>
                <a:gd name="T32" fmla="*/ 1884 w 1888"/>
                <a:gd name="T33" fmla="*/ 1599 h 3457"/>
                <a:gd name="T34" fmla="*/ 1842 w 1888"/>
                <a:gd name="T35" fmla="*/ 1320 h 3457"/>
                <a:gd name="T36" fmla="*/ 1758 w 1888"/>
                <a:gd name="T37" fmla="*/ 1058 h 3457"/>
                <a:gd name="T38" fmla="*/ 1635 w 1888"/>
                <a:gd name="T39" fmla="*/ 816 h 3457"/>
                <a:gd name="T40" fmla="*/ 1477 w 1888"/>
                <a:gd name="T41" fmla="*/ 598 h 3457"/>
                <a:gd name="T42" fmla="*/ 1287 w 1888"/>
                <a:gd name="T43" fmla="*/ 407 h 3457"/>
                <a:gd name="T44" fmla="*/ 1071 w 1888"/>
                <a:gd name="T45" fmla="*/ 247 h 3457"/>
                <a:gd name="T46" fmla="*/ 830 w 1888"/>
                <a:gd name="T47" fmla="*/ 122 h 3457"/>
                <a:gd name="T48" fmla="*/ 569 w 1888"/>
                <a:gd name="T49" fmla="*/ 36 h 3457"/>
                <a:gd name="T50" fmla="*/ 337 w 1888"/>
                <a:gd name="T51" fmla="*/ 2668 h 3457"/>
                <a:gd name="T52" fmla="*/ 209 w 1888"/>
                <a:gd name="T53" fmla="*/ 2625 h 3457"/>
                <a:gd name="T54" fmla="*/ 158 w 1888"/>
                <a:gd name="T55" fmla="*/ 2573 h 3457"/>
                <a:gd name="T56" fmla="*/ 123 w 1888"/>
                <a:gd name="T57" fmla="*/ 2429 h 3457"/>
                <a:gd name="T58" fmla="*/ 171 w 1888"/>
                <a:gd name="T59" fmla="*/ 2314 h 3457"/>
                <a:gd name="T60" fmla="*/ 234 w 1888"/>
                <a:gd name="T61" fmla="*/ 2260 h 3457"/>
                <a:gd name="T62" fmla="*/ 382 w 1888"/>
                <a:gd name="T63" fmla="*/ 2239 h 3457"/>
                <a:gd name="T64" fmla="*/ 484 w 1888"/>
                <a:gd name="T65" fmla="*/ 2291 h 3457"/>
                <a:gd name="T66" fmla="*/ 538 w 1888"/>
                <a:gd name="T67" fmla="*/ 2367 h 3457"/>
                <a:gd name="T68" fmla="*/ 545 w 1888"/>
                <a:gd name="T69" fmla="*/ 2516 h 3457"/>
                <a:gd name="T70" fmla="*/ 491 w 1888"/>
                <a:gd name="T71" fmla="*/ 2605 h 3457"/>
                <a:gd name="T72" fmla="*/ 402 w 1888"/>
                <a:gd name="T73" fmla="*/ 2658 h 3457"/>
                <a:gd name="T74" fmla="*/ 780 w 1888"/>
                <a:gd name="T75" fmla="*/ 2658 h 3457"/>
                <a:gd name="T76" fmla="*/ 692 w 1888"/>
                <a:gd name="T77" fmla="*/ 2605 h 3457"/>
                <a:gd name="T78" fmla="*/ 638 w 1888"/>
                <a:gd name="T79" fmla="*/ 2516 h 3457"/>
                <a:gd name="T80" fmla="*/ 646 w 1888"/>
                <a:gd name="T81" fmla="*/ 2367 h 3457"/>
                <a:gd name="T82" fmla="*/ 700 w 1888"/>
                <a:gd name="T83" fmla="*/ 2291 h 3457"/>
                <a:gd name="T84" fmla="*/ 802 w 1888"/>
                <a:gd name="T85" fmla="*/ 2239 h 3457"/>
                <a:gd name="T86" fmla="*/ 948 w 1888"/>
                <a:gd name="T87" fmla="*/ 2260 h 3457"/>
                <a:gd name="T88" fmla="*/ 1011 w 1888"/>
                <a:gd name="T89" fmla="*/ 2314 h 3457"/>
                <a:gd name="T90" fmla="*/ 1059 w 1888"/>
                <a:gd name="T91" fmla="*/ 2429 h 3457"/>
                <a:gd name="T92" fmla="*/ 1024 w 1888"/>
                <a:gd name="T93" fmla="*/ 2573 h 3457"/>
                <a:gd name="T94" fmla="*/ 973 w 1888"/>
                <a:gd name="T95" fmla="*/ 2625 h 3457"/>
                <a:gd name="T96" fmla="*/ 844 w 1888"/>
                <a:gd name="T97" fmla="*/ 2668 h 3457"/>
                <a:gd name="T98" fmla="*/ 1230 w 1888"/>
                <a:gd name="T99" fmla="*/ 2632 h 3457"/>
                <a:gd name="T100" fmla="*/ 1178 w 1888"/>
                <a:gd name="T101" fmla="*/ 2582 h 3457"/>
                <a:gd name="T102" fmla="*/ 1135 w 1888"/>
                <a:gd name="T103" fmla="*/ 2452 h 3457"/>
                <a:gd name="T104" fmla="*/ 1178 w 1888"/>
                <a:gd name="T105" fmla="*/ 2322 h 3457"/>
                <a:gd name="T106" fmla="*/ 1230 w 1888"/>
                <a:gd name="T107" fmla="*/ 2272 h 3457"/>
                <a:gd name="T108" fmla="*/ 1373 w 1888"/>
                <a:gd name="T109" fmla="*/ 2236 h 3457"/>
                <a:gd name="T110" fmla="*/ 1488 w 1888"/>
                <a:gd name="T111" fmla="*/ 2284 h 3457"/>
                <a:gd name="T112" fmla="*/ 1542 w 1888"/>
                <a:gd name="T113" fmla="*/ 2349 h 3457"/>
                <a:gd name="T114" fmla="*/ 1563 w 1888"/>
                <a:gd name="T115" fmla="*/ 2495 h 3457"/>
                <a:gd name="T116" fmla="*/ 1511 w 1888"/>
                <a:gd name="T117" fmla="*/ 2598 h 3457"/>
                <a:gd name="T118" fmla="*/ 1435 w 1888"/>
                <a:gd name="T119" fmla="*/ 2651 h 34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888" h="3457">
                  <a:moveTo>
                    <a:pt x="373" y="1790"/>
                  </a:move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3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2" y="1790"/>
                  </a:lnTo>
                  <a:lnTo>
                    <a:pt x="370" y="1815"/>
                  </a:lnTo>
                  <a:lnTo>
                    <a:pt x="364" y="1838"/>
                  </a:lnTo>
                  <a:lnTo>
                    <a:pt x="353" y="1859"/>
                  </a:lnTo>
                  <a:lnTo>
                    <a:pt x="340" y="1878"/>
                  </a:lnTo>
                  <a:lnTo>
                    <a:pt x="323" y="1896"/>
                  </a:lnTo>
                  <a:lnTo>
                    <a:pt x="304" y="1910"/>
                  </a:lnTo>
                  <a:lnTo>
                    <a:pt x="283" y="1921"/>
                  </a:lnTo>
                  <a:lnTo>
                    <a:pt x="260" y="1927"/>
                  </a:lnTo>
                  <a:lnTo>
                    <a:pt x="241" y="1931"/>
                  </a:lnTo>
                  <a:lnTo>
                    <a:pt x="221" y="1931"/>
                  </a:lnTo>
                  <a:lnTo>
                    <a:pt x="202" y="1931"/>
                  </a:lnTo>
                  <a:lnTo>
                    <a:pt x="182" y="1931"/>
                  </a:lnTo>
                  <a:lnTo>
                    <a:pt x="19" y="1931"/>
                  </a:lnTo>
                  <a:lnTo>
                    <a:pt x="15" y="1931"/>
                  </a:lnTo>
                  <a:lnTo>
                    <a:pt x="12" y="1932"/>
                  </a:lnTo>
                  <a:lnTo>
                    <a:pt x="9" y="1934"/>
                  </a:lnTo>
                  <a:lnTo>
                    <a:pt x="5" y="1936"/>
                  </a:lnTo>
                  <a:lnTo>
                    <a:pt x="3" y="1939"/>
                  </a:lnTo>
                  <a:lnTo>
                    <a:pt x="1" y="1942"/>
                  </a:lnTo>
                  <a:lnTo>
                    <a:pt x="0" y="1945"/>
                  </a:lnTo>
                  <a:lnTo>
                    <a:pt x="0" y="1950"/>
                  </a:lnTo>
                  <a:lnTo>
                    <a:pt x="0" y="3449"/>
                  </a:lnTo>
                  <a:lnTo>
                    <a:pt x="80" y="3455"/>
                  </a:lnTo>
                  <a:lnTo>
                    <a:pt x="159" y="3457"/>
                  </a:lnTo>
                  <a:lnTo>
                    <a:pt x="205" y="3456"/>
                  </a:lnTo>
                  <a:lnTo>
                    <a:pt x="248" y="3455"/>
                  </a:lnTo>
                  <a:lnTo>
                    <a:pt x="293" y="3452"/>
                  </a:lnTo>
                  <a:lnTo>
                    <a:pt x="336" y="3447"/>
                  </a:lnTo>
                  <a:lnTo>
                    <a:pt x="380" y="3443"/>
                  </a:lnTo>
                  <a:lnTo>
                    <a:pt x="423" y="3437"/>
                  </a:lnTo>
                  <a:lnTo>
                    <a:pt x="465" y="3429"/>
                  </a:lnTo>
                  <a:lnTo>
                    <a:pt x="508" y="3422"/>
                  </a:lnTo>
                  <a:lnTo>
                    <a:pt x="550" y="3412"/>
                  </a:lnTo>
                  <a:lnTo>
                    <a:pt x="592" y="3403"/>
                  </a:lnTo>
                  <a:lnTo>
                    <a:pt x="633" y="3391"/>
                  </a:lnTo>
                  <a:lnTo>
                    <a:pt x="673" y="3379"/>
                  </a:lnTo>
                  <a:lnTo>
                    <a:pt x="715" y="3365"/>
                  </a:lnTo>
                  <a:lnTo>
                    <a:pt x="754" y="3352"/>
                  </a:lnTo>
                  <a:lnTo>
                    <a:pt x="794" y="3337"/>
                  </a:lnTo>
                  <a:lnTo>
                    <a:pt x="832" y="3321"/>
                  </a:lnTo>
                  <a:lnTo>
                    <a:pt x="872" y="3304"/>
                  </a:lnTo>
                  <a:lnTo>
                    <a:pt x="910" y="3286"/>
                  </a:lnTo>
                  <a:lnTo>
                    <a:pt x="947" y="3267"/>
                  </a:lnTo>
                  <a:lnTo>
                    <a:pt x="984" y="3247"/>
                  </a:lnTo>
                  <a:lnTo>
                    <a:pt x="1020" y="3227"/>
                  </a:lnTo>
                  <a:lnTo>
                    <a:pt x="1056" y="3206"/>
                  </a:lnTo>
                  <a:lnTo>
                    <a:pt x="1092" y="3184"/>
                  </a:lnTo>
                  <a:lnTo>
                    <a:pt x="1126" y="3160"/>
                  </a:lnTo>
                  <a:lnTo>
                    <a:pt x="1161" y="3137"/>
                  </a:lnTo>
                  <a:lnTo>
                    <a:pt x="1194" y="3112"/>
                  </a:lnTo>
                  <a:lnTo>
                    <a:pt x="1227" y="3087"/>
                  </a:lnTo>
                  <a:lnTo>
                    <a:pt x="1260" y="3060"/>
                  </a:lnTo>
                  <a:lnTo>
                    <a:pt x="1291" y="3034"/>
                  </a:lnTo>
                  <a:lnTo>
                    <a:pt x="1322" y="3006"/>
                  </a:lnTo>
                  <a:lnTo>
                    <a:pt x="1353" y="2977"/>
                  </a:lnTo>
                  <a:lnTo>
                    <a:pt x="1382" y="2949"/>
                  </a:lnTo>
                  <a:lnTo>
                    <a:pt x="1411" y="2919"/>
                  </a:lnTo>
                  <a:lnTo>
                    <a:pt x="1440" y="2889"/>
                  </a:lnTo>
                  <a:lnTo>
                    <a:pt x="1467" y="2857"/>
                  </a:lnTo>
                  <a:lnTo>
                    <a:pt x="1494" y="2825"/>
                  </a:lnTo>
                  <a:lnTo>
                    <a:pt x="1520" y="2793"/>
                  </a:lnTo>
                  <a:lnTo>
                    <a:pt x="1545" y="2760"/>
                  </a:lnTo>
                  <a:lnTo>
                    <a:pt x="1570" y="2726"/>
                  </a:lnTo>
                  <a:lnTo>
                    <a:pt x="1593" y="2692"/>
                  </a:lnTo>
                  <a:lnTo>
                    <a:pt x="1616" y="2657"/>
                  </a:lnTo>
                  <a:lnTo>
                    <a:pt x="1638" y="2622"/>
                  </a:lnTo>
                  <a:lnTo>
                    <a:pt x="1659" y="2586"/>
                  </a:lnTo>
                  <a:lnTo>
                    <a:pt x="1680" y="2549"/>
                  </a:lnTo>
                  <a:lnTo>
                    <a:pt x="1699" y="2511"/>
                  </a:lnTo>
                  <a:lnTo>
                    <a:pt x="1719" y="2474"/>
                  </a:lnTo>
                  <a:lnTo>
                    <a:pt x="1736" y="2436"/>
                  </a:lnTo>
                  <a:lnTo>
                    <a:pt x="1752" y="2398"/>
                  </a:lnTo>
                  <a:lnTo>
                    <a:pt x="1768" y="2358"/>
                  </a:lnTo>
                  <a:lnTo>
                    <a:pt x="1783" y="2319"/>
                  </a:lnTo>
                  <a:lnTo>
                    <a:pt x="1798" y="2278"/>
                  </a:lnTo>
                  <a:lnTo>
                    <a:pt x="1811" y="2238"/>
                  </a:lnTo>
                  <a:lnTo>
                    <a:pt x="1822" y="2197"/>
                  </a:lnTo>
                  <a:lnTo>
                    <a:pt x="1834" y="2155"/>
                  </a:lnTo>
                  <a:lnTo>
                    <a:pt x="1845" y="2114"/>
                  </a:lnTo>
                  <a:lnTo>
                    <a:pt x="1853" y="2072"/>
                  </a:lnTo>
                  <a:lnTo>
                    <a:pt x="1862" y="2030"/>
                  </a:lnTo>
                  <a:lnTo>
                    <a:pt x="1869" y="1986"/>
                  </a:lnTo>
                  <a:lnTo>
                    <a:pt x="1874" y="1943"/>
                  </a:lnTo>
                  <a:lnTo>
                    <a:pt x="1880" y="1900"/>
                  </a:lnTo>
                  <a:lnTo>
                    <a:pt x="1884" y="1855"/>
                  </a:lnTo>
                  <a:lnTo>
                    <a:pt x="1886" y="1811"/>
                  </a:lnTo>
                  <a:lnTo>
                    <a:pt x="1888" y="1767"/>
                  </a:lnTo>
                  <a:lnTo>
                    <a:pt x="1888" y="1722"/>
                  </a:lnTo>
                  <a:lnTo>
                    <a:pt x="1888" y="1681"/>
                  </a:lnTo>
                  <a:lnTo>
                    <a:pt x="1887" y="1639"/>
                  </a:lnTo>
                  <a:lnTo>
                    <a:pt x="1884" y="1599"/>
                  </a:lnTo>
                  <a:lnTo>
                    <a:pt x="1881" y="1558"/>
                  </a:lnTo>
                  <a:lnTo>
                    <a:pt x="1876" y="1518"/>
                  </a:lnTo>
                  <a:lnTo>
                    <a:pt x="1871" y="1477"/>
                  </a:lnTo>
                  <a:lnTo>
                    <a:pt x="1866" y="1438"/>
                  </a:lnTo>
                  <a:lnTo>
                    <a:pt x="1858" y="1398"/>
                  </a:lnTo>
                  <a:lnTo>
                    <a:pt x="1851" y="1359"/>
                  </a:lnTo>
                  <a:lnTo>
                    <a:pt x="1842" y="1320"/>
                  </a:lnTo>
                  <a:lnTo>
                    <a:pt x="1832" y="1282"/>
                  </a:lnTo>
                  <a:lnTo>
                    <a:pt x="1821" y="1243"/>
                  </a:lnTo>
                  <a:lnTo>
                    <a:pt x="1811" y="1205"/>
                  </a:lnTo>
                  <a:lnTo>
                    <a:pt x="1798" y="1168"/>
                  </a:lnTo>
                  <a:lnTo>
                    <a:pt x="1785" y="1131"/>
                  </a:lnTo>
                  <a:lnTo>
                    <a:pt x="1772" y="1095"/>
                  </a:lnTo>
                  <a:lnTo>
                    <a:pt x="1758" y="1058"/>
                  </a:lnTo>
                  <a:lnTo>
                    <a:pt x="1742" y="1022"/>
                  </a:lnTo>
                  <a:lnTo>
                    <a:pt x="1726" y="987"/>
                  </a:lnTo>
                  <a:lnTo>
                    <a:pt x="1709" y="952"/>
                  </a:lnTo>
                  <a:lnTo>
                    <a:pt x="1691" y="917"/>
                  </a:lnTo>
                  <a:lnTo>
                    <a:pt x="1673" y="883"/>
                  </a:lnTo>
                  <a:lnTo>
                    <a:pt x="1654" y="849"/>
                  </a:lnTo>
                  <a:lnTo>
                    <a:pt x="1635" y="816"/>
                  </a:lnTo>
                  <a:lnTo>
                    <a:pt x="1614" y="783"/>
                  </a:lnTo>
                  <a:lnTo>
                    <a:pt x="1592" y="751"/>
                  </a:lnTo>
                  <a:lnTo>
                    <a:pt x="1570" y="719"/>
                  </a:lnTo>
                  <a:lnTo>
                    <a:pt x="1548" y="688"/>
                  </a:lnTo>
                  <a:lnTo>
                    <a:pt x="1525" y="657"/>
                  </a:lnTo>
                  <a:lnTo>
                    <a:pt x="1501" y="628"/>
                  </a:lnTo>
                  <a:lnTo>
                    <a:pt x="1477" y="598"/>
                  </a:lnTo>
                  <a:lnTo>
                    <a:pt x="1451" y="569"/>
                  </a:lnTo>
                  <a:lnTo>
                    <a:pt x="1425" y="540"/>
                  </a:lnTo>
                  <a:lnTo>
                    <a:pt x="1398" y="513"/>
                  </a:lnTo>
                  <a:lnTo>
                    <a:pt x="1372" y="485"/>
                  </a:lnTo>
                  <a:lnTo>
                    <a:pt x="1344" y="459"/>
                  </a:lnTo>
                  <a:lnTo>
                    <a:pt x="1316" y="432"/>
                  </a:lnTo>
                  <a:lnTo>
                    <a:pt x="1287" y="407"/>
                  </a:lnTo>
                  <a:lnTo>
                    <a:pt x="1257" y="382"/>
                  </a:lnTo>
                  <a:lnTo>
                    <a:pt x="1228" y="359"/>
                  </a:lnTo>
                  <a:lnTo>
                    <a:pt x="1197" y="334"/>
                  </a:lnTo>
                  <a:lnTo>
                    <a:pt x="1166" y="312"/>
                  </a:lnTo>
                  <a:lnTo>
                    <a:pt x="1135" y="289"/>
                  </a:lnTo>
                  <a:lnTo>
                    <a:pt x="1103" y="268"/>
                  </a:lnTo>
                  <a:lnTo>
                    <a:pt x="1071" y="247"/>
                  </a:lnTo>
                  <a:lnTo>
                    <a:pt x="1038" y="228"/>
                  </a:lnTo>
                  <a:lnTo>
                    <a:pt x="1004" y="208"/>
                  </a:lnTo>
                  <a:lnTo>
                    <a:pt x="970" y="189"/>
                  </a:lnTo>
                  <a:lnTo>
                    <a:pt x="936" y="171"/>
                  </a:lnTo>
                  <a:lnTo>
                    <a:pt x="901" y="154"/>
                  </a:lnTo>
                  <a:lnTo>
                    <a:pt x="866" y="138"/>
                  </a:lnTo>
                  <a:lnTo>
                    <a:pt x="830" y="122"/>
                  </a:lnTo>
                  <a:lnTo>
                    <a:pt x="794" y="108"/>
                  </a:lnTo>
                  <a:lnTo>
                    <a:pt x="757" y="94"/>
                  </a:lnTo>
                  <a:lnTo>
                    <a:pt x="721" y="81"/>
                  </a:lnTo>
                  <a:lnTo>
                    <a:pt x="684" y="68"/>
                  </a:lnTo>
                  <a:lnTo>
                    <a:pt x="646" y="56"/>
                  </a:lnTo>
                  <a:lnTo>
                    <a:pt x="608" y="46"/>
                  </a:lnTo>
                  <a:lnTo>
                    <a:pt x="569" y="36"/>
                  </a:lnTo>
                  <a:lnTo>
                    <a:pt x="531" y="28"/>
                  </a:lnTo>
                  <a:lnTo>
                    <a:pt x="492" y="19"/>
                  </a:lnTo>
                  <a:lnTo>
                    <a:pt x="453" y="12"/>
                  </a:lnTo>
                  <a:lnTo>
                    <a:pt x="412" y="5"/>
                  </a:lnTo>
                  <a:lnTo>
                    <a:pt x="373" y="0"/>
                  </a:lnTo>
                  <a:lnTo>
                    <a:pt x="373" y="1790"/>
                  </a:lnTo>
                  <a:close/>
                  <a:moveTo>
                    <a:pt x="337" y="2668"/>
                  </a:moveTo>
                  <a:lnTo>
                    <a:pt x="316" y="2667"/>
                  </a:lnTo>
                  <a:lnTo>
                    <a:pt x="294" y="2663"/>
                  </a:lnTo>
                  <a:lnTo>
                    <a:pt x="274" y="2658"/>
                  </a:lnTo>
                  <a:lnTo>
                    <a:pt x="253" y="2651"/>
                  </a:lnTo>
                  <a:lnTo>
                    <a:pt x="234" y="2642"/>
                  </a:lnTo>
                  <a:lnTo>
                    <a:pt x="217" y="2632"/>
                  </a:lnTo>
                  <a:lnTo>
                    <a:pt x="209" y="2625"/>
                  </a:lnTo>
                  <a:lnTo>
                    <a:pt x="200" y="2619"/>
                  </a:lnTo>
                  <a:lnTo>
                    <a:pt x="192" y="2612"/>
                  </a:lnTo>
                  <a:lnTo>
                    <a:pt x="185" y="2605"/>
                  </a:lnTo>
                  <a:lnTo>
                    <a:pt x="178" y="2598"/>
                  </a:lnTo>
                  <a:lnTo>
                    <a:pt x="171" y="2589"/>
                  </a:lnTo>
                  <a:lnTo>
                    <a:pt x="164" y="2582"/>
                  </a:lnTo>
                  <a:lnTo>
                    <a:pt x="158" y="2573"/>
                  </a:lnTo>
                  <a:lnTo>
                    <a:pt x="147" y="2555"/>
                  </a:lnTo>
                  <a:lnTo>
                    <a:pt x="139" y="2536"/>
                  </a:lnTo>
                  <a:lnTo>
                    <a:pt x="132" y="2516"/>
                  </a:lnTo>
                  <a:lnTo>
                    <a:pt x="126" y="2495"/>
                  </a:lnTo>
                  <a:lnTo>
                    <a:pt x="123" y="2474"/>
                  </a:lnTo>
                  <a:lnTo>
                    <a:pt x="122" y="2452"/>
                  </a:lnTo>
                  <a:lnTo>
                    <a:pt x="123" y="2429"/>
                  </a:lnTo>
                  <a:lnTo>
                    <a:pt x="126" y="2408"/>
                  </a:lnTo>
                  <a:lnTo>
                    <a:pt x="132" y="2387"/>
                  </a:lnTo>
                  <a:lnTo>
                    <a:pt x="139" y="2367"/>
                  </a:lnTo>
                  <a:lnTo>
                    <a:pt x="147" y="2349"/>
                  </a:lnTo>
                  <a:lnTo>
                    <a:pt x="158" y="2331"/>
                  </a:lnTo>
                  <a:lnTo>
                    <a:pt x="164" y="2322"/>
                  </a:lnTo>
                  <a:lnTo>
                    <a:pt x="171" y="2314"/>
                  </a:lnTo>
                  <a:lnTo>
                    <a:pt x="178" y="2306"/>
                  </a:lnTo>
                  <a:lnTo>
                    <a:pt x="185" y="2299"/>
                  </a:lnTo>
                  <a:lnTo>
                    <a:pt x="192" y="2291"/>
                  </a:lnTo>
                  <a:lnTo>
                    <a:pt x="200" y="2284"/>
                  </a:lnTo>
                  <a:lnTo>
                    <a:pt x="209" y="2277"/>
                  </a:lnTo>
                  <a:lnTo>
                    <a:pt x="217" y="2272"/>
                  </a:lnTo>
                  <a:lnTo>
                    <a:pt x="234" y="2260"/>
                  </a:lnTo>
                  <a:lnTo>
                    <a:pt x="253" y="2252"/>
                  </a:lnTo>
                  <a:lnTo>
                    <a:pt x="274" y="2244"/>
                  </a:lnTo>
                  <a:lnTo>
                    <a:pt x="294" y="2239"/>
                  </a:lnTo>
                  <a:lnTo>
                    <a:pt x="316" y="2236"/>
                  </a:lnTo>
                  <a:lnTo>
                    <a:pt x="337" y="2235"/>
                  </a:lnTo>
                  <a:lnTo>
                    <a:pt x="359" y="2236"/>
                  </a:lnTo>
                  <a:lnTo>
                    <a:pt x="382" y="2239"/>
                  </a:lnTo>
                  <a:lnTo>
                    <a:pt x="402" y="2244"/>
                  </a:lnTo>
                  <a:lnTo>
                    <a:pt x="422" y="2252"/>
                  </a:lnTo>
                  <a:lnTo>
                    <a:pt x="441" y="2260"/>
                  </a:lnTo>
                  <a:lnTo>
                    <a:pt x="459" y="2272"/>
                  </a:lnTo>
                  <a:lnTo>
                    <a:pt x="468" y="2277"/>
                  </a:lnTo>
                  <a:lnTo>
                    <a:pt x="476" y="2284"/>
                  </a:lnTo>
                  <a:lnTo>
                    <a:pt x="484" y="2291"/>
                  </a:lnTo>
                  <a:lnTo>
                    <a:pt x="491" y="2299"/>
                  </a:lnTo>
                  <a:lnTo>
                    <a:pt x="498" y="2306"/>
                  </a:lnTo>
                  <a:lnTo>
                    <a:pt x="505" y="2314"/>
                  </a:lnTo>
                  <a:lnTo>
                    <a:pt x="511" y="2322"/>
                  </a:lnTo>
                  <a:lnTo>
                    <a:pt x="517" y="2331"/>
                  </a:lnTo>
                  <a:lnTo>
                    <a:pt x="528" y="2349"/>
                  </a:lnTo>
                  <a:lnTo>
                    <a:pt x="538" y="2367"/>
                  </a:lnTo>
                  <a:lnTo>
                    <a:pt x="545" y="2387"/>
                  </a:lnTo>
                  <a:lnTo>
                    <a:pt x="550" y="2408"/>
                  </a:lnTo>
                  <a:lnTo>
                    <a:pt x="553" y="2429"/>
                  </a:lnTo>
                  <a:lnTo>
                    <a:pt x="555" y="2452"/>
                  </a:lnTo>
                  <a:lnTo>
                    <a:pt x="553" y="2474"/>
                  </a:lnTo>
                  <a:lnTo>
                    <a:pt x="550" y="2495"/>
                  </a:lnTo>
                  <a:lnTo>
                    <a:pt x="545" y="2516"/>
                  </a:lnTo>
                  <a:lnTo>
                    <a:pt x="538" y="2536"/>
                  </a:lnTo>
                  <a:lnTo>
                    <a:pt x="528" y="2555"/>
                  </a:lnTo>
                  <a:lnTo>
                    <a:pt x="517" y="2573"/>
                  </a:lnTo>
                  <a:lnTo>
                    <a:pt x="511" y="2582"/>
                  </a:lnTo>
                  <a:lnTo>
                    <a:pt x="505" y="2589"/>
                  </a:lnTo>
                  <a:lnTo>
                    <a:pt x="498" y="2598"/>
                  </a:lnTo>
                  <a:lnTo>
                    <a:pt x="491" y="2605"/>
                  </a:lnTo>
                  <a:lnTo>
                    <a:pt x="484" y="2612"/>
                  </a:lnTo>
                  <a:lnTo>
                    <a:pt x="476" y="2619"/>
                  </a:lnTo>
                  <a:lnTo>
                    <a:pt x="468" y="2625"/>
                  </a:lnTo>
                  <a:lnTo>
                    <a:pt x="459" y="2632"/>
                  </a:lnTo>
                  <a:lnTo>
                    <a:pt x="441" y="2642"/>
                  </a:lnTo>
                  <a:lnTo>
                    <a:pt x="422" y="2651"/>
                  </a:lnTo>
                  <a:lnTo>
                    <a:pt x="402" y="2658"/>
                  </a:lnTo>
                  <a:lnTo>
                    <a:pt x="382" y="2663"/>
                  </a:lnTo>
                  <a:lnTo>
                    <a:pt x="359" y="2667"/>
                  </a:lnTo>
                  <a:lnTo>
                    <a:pt x="337" y="2668"/>
                  </a:lnTo>
                  <a:close/>
                  <a:moveTo>
                    <a:pt x="844" y="2668"/>
                  </a:moveTo>
                  <a:lnTo>
                    <a:pt x="823" y="2667"/>
                  </a:lnTo>
                  <a:lnTo>
                    <a:pt x="802" y="2663"/>
                  </a:lnTo>
                  <a:lnTo>
                    <a:pt x="780" y="2658"/>
                  </a:lnTo>
                  <a:lnTo>
                    <a:pt x="760" y="2651"/>
                  </a:lnTo>
                  <a:lnTo>
                    <a:pt x="742" y="2642"/>
                  </a:lnTo>
                  <a:lnTo>
                    <a:pt x="724" y="2632"/>
                  </a:lnTo>
                  <a:lnTo>
                    <a:pt x="716" y="2625"/>
                  </a:lnTo>
                  <a:lnTo>
                    <a:pt x="707" y="2619"/>
                  </a:lnTo>
                  <a:lnTo>
                    <a:pt x="700" y="2612"/>
                  </a:lnTo>
                  <a:lnTo>
                    <a:pt x="692" y="2605"/>
                  </a:lnTo>
                  <a:lnTo>
                    <a:pt x="685" y="2598"/>
                  </a:lnTo>
                  <a:lnTo>
                    <a:pt x="678" y="2589"/>
                  </a:lnTo>
                  <a:lnTo>
                    <a:pt x="671" y="2582"/>
                  </a:lnTo>
                  <a:lnTo>
                    <a:pt x="666" y="2573"/>
                  </a:lnTo>
                  <a:lnTo>
                    <a:pt x="654" y="2555"/>
                  </a:lnTo>
                  <a:lnTo>
                    <a:pt x="646" y="2536"/>
                  </a:lnTo>
                  <a:lnTo>
                    <a:pt x="638" y="2516"/>
                  </a:lnTo>
                  <a:lnTo>
                    <a:pt x="633" y="2495"/>
                  </a:lnTo>
                  <a:lnTo>
                    <a:pt x="630" y="2474"/>
                  </a:lnTo>
                  <a:lnTo>
                    <a:pt x="629" y="2452"/>
                  </a:lnTo>
                  <a:lnTo>
                    <a:pt x="630" y="2429"/>
                  </a:lnTo>
                  <a:lnTo>
                    <a:pt x="633" y="2408"/>
                  </a:lnTo>
                  <a:lnTo>
                    <a:pt x="638" y="2387"/>
                  </a:lnTo>
                  <a:lnTo>
                    <a:pt x="646" y="2367"/>
                  </a:lnTo>
                  <a:lnTo>
                    <a:pt x="654" y="2349"/>
                  </a:lnTo>
                  <a:lnTo>
                    <a:pt x="666" y="2331"/>
                  </a:lnTo>
                  <a:lnTo>
                    <a:pt x="671" y="2322"/>
                  </a:lnTo>
                  <a:lnTo>
                    <a:pt x="678" y="2314"/>
                  </a:lnTo>
                  <a:lnTo>
                    <a:pt x="685" y="2306"/>
                  </a:lnTo>
                  <a:lnTo>
                    <a:pt x="692" y="2299"/>
                  </a:lnTo>
                  <a:lnTo>
                    <a:pt x="700" y="2291"/>
                  </a:lnTo>
                  <a:lnTo>
                    <a:pt x="707" y="2284"/>
                  </a:lnTo>
                  <a:lnTo>
                    <a:pt x="716" y="2277"/>
                  </a:lnTo>
                  <a:lnTo>
                    <a:pt x="724" y="2272"/>
                  </a:lnTo>
                  <a:lnTo>
                    <a:pt x="742" y="2260"/>
                  </a:lnTo>
                  <a:lnTo>
                    <a:pt x="760" y="2252"/>
                  </a:lnTo>
                  <a:lnTo>
                    <a:pt x="780" y="2244"/>
                  </a:lnTo>
                  <a:lnTo>
                    <a:pt x="802" y="2239"/>
                  </a:lnTo>
                  <a:lnTo>
                    <a:pt x="823" y="2236"/>
                  </a:lnTo>
                  <a:lnTo>
                    <a:pt x="844" y="2235"/>
                  </a:lnTo>
                  <a:lnTo>
                    <a:pt x="866" y="2236"/>
                  </a:lnTo>
                  <a:lnTo>
                    <a:pt x="888" y="2239"/>
                  </a:lnTo>
                  <a:lnTo>
                    <a:pt x="909" y="2244"/>
                  </a:lnTo>
                  <a:lnTo>
                    <a:pt x="929" y="2252"/>
                  </a:lnTo>
                  <a:lnTo>
                    <a:pt x="948" y="2260"/>
                  </a:lnTo>
                  <a:lnTo>
                    <a:pt x="966" y="2272"/>
                  </a:lnTo>
                  <a:lnTo>
                    <a:pt x="973" y="2277"/>
                  </a:lnTo>
                  <a:lnTo>
                    <a:pt x="982" y="2284"/>
                  </a:lnTo>
                  <a:lnTo>
                    <a:pt x="990" y="2291"/>
                  </a:lnTo>
                  <a:lnTo>
                    <a:pt x="998" y="2299"/>
                  </a:lnTo>
                  <a:lnTo>
                    <a:pt x="1004" y="2306"/>
                  </a:lnTo>
                  <a:lnTo>
                    <a:pt x="1011" y="2314"/>
                  </a:lnTo>
                  <a:lnTo>
                    <a:pt x="1018" y="2322"/>
                  </a:lnTo>
                  <a:lnTo>
                    <a:pt x="1024" y="2331"/>
                  </a:lnTo>
                  <a:lnTo>
                    <a:pt x="1035" y="2349"/>
                  </a:lnTo>
                  <a:lnTo>
                    <a:pt x="1043" y="2367"/>
                  </a:lnTo>
                  <a:lnTo>
                    <a:pt x="1051" y="2387"/>
                  </a:lnTo>
                  <a:lnTo>
                    <a:pt x="1056" y="2408"/>
                  </a:lnTo>
                  <a:lnTo>
                    <a:pt x="1059" y="2429"/>
                  </a:lnTo>
                  <a:lnTo>
                    <a:pt x="1060" y="2452"/>
                  </a:lnTo>
                  <a:lnTo>
                    <a:pt x="1059" y="2474"/>
                  </a:lnTo>
                  <a:lnTo>
                    <a:pt x="1056" y="2495"/>
                  </a:lnTo>
                  <a:lnTo>
                    <a:pt x="1051" y="2516"/>
                  </a:lnTo>
                  <a:lnTo>
                    <a:pt x="1043" y="2536"/>
                  </a:lnTo>
                  <a:lnTo>
                    <a:pt x="1035" y="2555"/>
                  </a:lnTo>
                  <a:lnTo>
                    <a:pt x="1024" y="2573"/>
                  </a:lnTo>
                  <a:lnTo>
                    <a:pt x="1018" y="2582"/>
                  </a:lnTo>
                  <a:lnTo>
                    <a:pt x="1011" y="2589"/>
                  </a:lnTo>
                  <a:lnTo>
                    <a:pt x="1004" y="2598"/>
                  </a:lnTo>
                  <a:lnTo>
                    <a:pt x="998" y="2605"/>
                  </a:lnTo>
                  <a:lnTo>
                    <a:pt x="990" y="2612"/>
                  </a:lnTo>
                  <a:lnTo>
                    <a:pt x="982" y="2619"/>
                  </a:lnTo>
                  <a:lnTo>
                    <a:pt x="973" y="2625"/>
                  </a:lnTo>
                  <a:lnTo>
                    <a:pt x="966" y="2632"/>
                  </a:lnTo>
                  <a:lnTo>
                    <a:pt x="948" y="2642"/>
                  </a:lnTo>
                  <a:lnTo>
                    <a:pt x="929" y="2651"/>
                  </a:lnTo>
                  <a:lnTo>
                    <a:pt x="909" y="2658"/>
                  </a:lnTo>
                  <a:lnTo>
                    <a:pt x="888" y="2663"/>
                  </a:lnTo>
                  <a:lnTo>
                    <a:pt x="866" y="2667"/>
                  </a:lnTo>
                  <a:lnTo>
                    <a:pt x="844" y="2668"/>
                  </a:lnTo>
                  <a:close/>
                  <a:moveTo>
                    <a:pt x="1351" y="2668"/>
                  </a:moveTo>
                  <a:lnTo>
                    <a:pt x="1329" y="2667"/>
                  </a:lnTo>
                  <a:lnTo>
                    <a:pt x="1307" y="2663"/>
                  </a:lnTo>
                  <a:lnTo>
                    <a:pt x="1287" y="2658"/>
                  </a:lnTo>
                  <a:lnTo>
                    <a:pt x="1267" y="2651"/>
                  </a:lnTo>
                  <a:lnTo>
                    <a:pt x="1248" y="2642"/>
                  </a:lnTo>
                  <a:lnTo>
                    <a:pt x="1230" y="2632"/>
                  </a:lnTo>
                  <a:lnTo>
                    <a:pt x="1221" y="2625"/>
                  </a:lnTo>
                  <a:lnTo>
                    <a:pt x="1214" y="2619"/>
                  </a:lnTo>
                  <a:lnTo>
                    <a:pt x="1205" y="2612"/>
                  </a:lnTo>
                  <a:lnTo>
                    <a:pt x="1198" y="2605"/>
                  </a:lnTo>
                  <a:lnTo>
                    <a:pt x="1191" y="2598"/>
                  </a:lnTo>
                  <a:lnTo>
                    <a:pt x="1184" y="2589"/>
                  </a:lnTo>
                  <a:lnTo>
                    <a:pt x="1178" y="2582"/>
                  </a:lnTo>
                  <a:lnTo>
                    <a:pt x="1172" y="2573"/>
                  </a:lnTo>
                  <a:lnTo>
                    <a:pt x="1161" y="2555"/>
                  </a:lnTo>
                  <a:lnTo>
                    <a:pt x="1152" y="2536"/>
                  </a:lnTo>
                  <a:lnTo>
                    <a:pt x="1145" y="2516"/>
                  </a:lnTo>
                  <a:lnTo>
                    <a:pt x="1140" y="2495"/>
                  </a:lnTo>
                  <a:lnTo>
                    <a:pt x="1137" y="2474"/>
                  </a:lnTo>
                  <a:lnTo>
                    <a:pt x="1135" y="2452"/>
                  </a:lnTo>
                  <a:lnTo>
                    <a:pt x="1137" y="2429"/>
                  </a:lnTo>
                  <a:lnTo>
                    <a:pt x="1140" y="2408"/>
                  </a:lnTo>
                  <a:lnTo>
                    <a:pt x="1145" y="2387"/>
                  </a:lnTo>
                  <a:lnTo>
                    <a:pt x="1152" y="2367"/>
                  </a:lnTo>
                  <a:lnTo>
                    <a:pt x="1161" y="2349"/>
                  </a:lnTo>
                  <a:lnTo>
                    <a:pt x="1172" y="2331"/>
                  </a:lnTo>
                  <a:lnTo>
                    <a:pt x="1178" y="2322"/>
                  </a:lnTo>
                  <a:lnTo>
                    <a:pt x="1184" y="2314"/>
                  </a:lnTo>
                  <a:lnTo>
                    <a:pt x="1191" y="2306"/>
                  </a:lnTo>
                  <a:lnTo>
                    <a:pt x="1198" y="2299"/>
                  </a:lnTo>
                  <a:lnTo>
                    <a:pt x="1205" y="2291"/>
                  </a:lnTo>
                  <a:lnTo>
                    <a:pt x="1214" y="2284"/>
                  </a:lnTo>
                  <a:lnTo>
                    <a:pt x="1221" y="2277"/>
                  </a:lnTo>
                  <a:lnTo>
                    <a:pt x="1230" y="2272"/>
                  </a:lnTo>
                  <a:lnTo>
                    <a:pt x="1248" y="2260"/>
                  </a:lnTo>
                  <a:lnTo>
                    <a:pt x="1267" y="2252"/>
                  </a:lnTo>
                  <a:lnTo>
                    <a:pt x="1287" y="2244"/>
                  </a:lnTo>
                  <a:lnTo>
                    <a:pt x="1307" y="2239"/>
                  </a:lnTo>
                  <a:lnTo>
                    <a:pt x="1329" y="2236"/>
                  </a:lnTo>
                  <a:lnTo>
                    <a:pt x="1351" y="2235"/>
                  </a:lnTo>
                  <a:lnTo>
                    <a:pt x="1373" y="2236"/>
                  </a:lnTo>
                  <a:lnTo>
                    <a:pt x="1394" y="2239"/>
                  </a:lnTo>
                  <a:lnTo>
                    <a:pt x="1415" y="2244"/>
                  </a:lnTo>
                  <a:lnTo>
                    <a:pt x="1435" y="2252"/>
                  </a:lnTo>
                  <a:lnTo>
                    <a:pt x="1455" y="2260"/>
                  </a:lnTo>
                  <a:lnTo>
                    <a:pt x="1472" y="2272"/>
                  </a:lnTo>
                  <a:lnTo>
                    <a:pt x="1480" y="2277"/>
                  </a:lnTo>
                  <a:lnTo>
                    <a:pt x="1488" y="2284"/>
                  </a:lnTo>
                  <a:lnTo>
                    <a:pt x="1496" y="2291"/>
                  </a:lnTo>
                  <a:lnTo>
                    <a:pt x="1504" y="2299"/>
                  </a:lnTo>
                  <a:lnTo>
                    <a:pt x="1511" y="2306"/>
                  </a:lnTo>
                  <a:lnTo>
                    <a:pt x="1518" y="2314"/>
                  </a:lnTo>
                  <a:lnTo>
                    <a:pt x="1525" y="2322"/>
                  </a:lnTo>
                  <a:lnTo>
                    <a:pt x="1530" y="2331"/>
                  </a:lnTo>
                  <a:lnTo>
                    <a:pt x="1542" y="2349"/>
                  </a:lnTo>
                  <a:lnTo>
                    <a:pt x="1550" y="2367"/>
                  </a:lnTo>
                  <a:lnTo>
                    <a:pt x="1557" y="2387"/>
                  </a:lnTo>
                  <a:lnTo>
                    <a:pt x="1563" y="2408"/>
                  </a:lnTo>
                  <a:lnTo>
                    <a:pt x="1566" y="2429"/>
                  </a:lnTo>
                  <a:lnTo>
                    <a:pt x="1567" y="2452"/>
                  </a:lnTo>
                  <a:lnTo>
                    <a:pt x="1566" y="2474"/>
                  </a:lnTo>
                  <a:lnTo>
                    <a:pt x="1563" y="2495"/>
                  </a:lnTo>
                  <a:lnTo>
                    <a:pt x="1557" y="2516"/>
                  </a:lnTo>
                  <a:lnTo>
                    <a:pt x="1550" y="2536"/>
                  </a:lnTo>
                  <a:lnTo>
                    <a:pt x="1542" y="2555"/>
                  </a:lnTo>
                  <a:lnTo>
                    <a:pt x="1530" y="2573"/>
                  </a:lnTo>
                  <a:lnTo>
                    <a:pt x="1525" y="2582"/>
                  </a:lnTo>
                  <a:lnTo>
                    <a:pt x="1518" y="2589"/>
                  </a:lnTo>
                  <a:lnTo>
                    <a:pt x="1511" y="2598"/>
                  </a:lnTo>
                  <a:lnTo>
                    <a:pt x="1504" y="2605"/>
                  </a:lnTo>
                  <a:lnTo>
                    <a:pt x="1496" y="2612"/>
                  </a:lnTo>
                  <a:lnTo>
                    <a:pt x="1488" y="2619"/>
                  </a:lnTo>
                  <a:lnTo>
                    <a:pt x="1480" y="2625"/>
                  </a:lnTo>
                  <a:lnTo>
                    <a:pt x="1472" y="2632"/>
                  </a:lnTo>
                  <a:lnTo>
                    <a:pt x="1455" y="2642"/>
                  </a:lnTo>
                  <a:lnTo>
                    <a:pt x="1435" y="2651"/>
                  </a:lnTo>
                  <a:lnTo>
                    <a:pt x="1415" y="2658"/>
                  </a:lnTo>
                  <a:lnTo>
                    <a:pt x="1394" y="2663"/>
                  </a:lnTo>
                  <a:lnTo>
                    <a:pt x="1373" y="2667"/>
                  </a:lnTo>
                  <a:lnTo>
                    <a:pt x="1351" y="2668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983"/>
              <a:endParaRPr lang="ru-RU" sz="1350" dirty="0">
                <a:solidFill>
                  <a:srgbClr val="000000"/>
                </a:solidFill>
              </a:endParaRPr>
            </a:p>
          </p:txBody>
        </p:sp>
        <p:sp>
          <p:nvSpPr>
            <p:cNvPr id="19" name="Freeform 7"/>
            <p:cNvSpPr>
              <a:spLocks noEditPoints="1"/>
            </p:cNvSpPr>
            <p:nvPr/>
          </p:nvSpPr>
          <p:spPr bwMode="auto">
            <a:xfrm>
              <a:off x="5176838" y="2511426"/>
              <a:ext cx="919163" cy="1816100"/>
            </a:xfrm>
            <a:custGeom>
              <a:avLst/>
              <a:gdLst>
                <a:gd name="T0" fmla="*/ 1734 w 1735"/>
                <a:gd name="T1" fmla="*/ 0 h 3431"/>
                <a:gd name="T2" fmla="*/ 1734 w 1735"/>
                <a:gd name="T3" fmla="*/ 0 h 3431"/>
                <a:gd name="T4" fmla="*/ 1733 w 1735"/>
                <a:gd name="T5" fmla="*/ 0 h 3431"/>
                <a:gd name="T6" fmla="*/ 1733 w 1735"/>
                <a:gd name="T7" fmla="*/ 0 h 3431"/>
                <a:gd name="T8" fmla="*/ 1732 w 1735"/>
                <a:gd name="T9" fmla="*/ 0 h 3431"/>
                <a:gd name="T10" fmla="*/ 1731 w 1735"/>
                <a:gd name="T11" fmla="*/ 0 h 3431"/>
                <a:gd name="T12" fmla="*/ 1730 w 1735"/>
                <a:gd name="T13" fmla="*/ 0 h 3431"/>
                <a:gd name="T14" fmla="*/ 1729 w 1735"/>
                <a:gd name="T15" fmla="*/ 0 h 3431"/>
                <a:gd name="T16" fmla="*/ 1510 w 1735"/>
                <a:gd name="T17" fmla="*/ 14 h 3431"/>
                <a:gd name="T18" fmla="*/ 1298 w 1735"/>
                <a:gd name="T19" fmla="*/ 55 h 3431"/>
                <a:gd name="T20" fmla="*/ 1095 w 1735"/>
                <a:gd name="T21" fmla="*/ 121 h 3431"/>
                <a:gd name="T22" fmla="*/ 905 w 1735"/>
                <a:gd name="T23" fmla="*/ 210 h 3431"/>
                <a:gd name="T24" fmla="*/ 728 w 1735"/>
                <a:gd name="T25" fmla="*/ 320 h 3431"/>
                <a:gd name="T26" fmla="*/ 567 w 1735"/>
                <a:gd name="T27" fmla="*/ 451 h 3431"/>
                <a:gd name="T28" fmla="*/ 422 w 1735"/>
                <a:gd name="T29" fmla="*/ 600 h 3431"/>
                <a:gd name="T30" fmla="*/ 296 w 1735"/>
                <a:gd name="T31" fmla="*/ 765 h 3431"/>
                <a:gd name="T32" fmla="*/ 190 w 1735"/>
                <a:gd name="T33" fmla="*/ 945 h 3431"/>
                <a:gd name="T34" fmla="*/ 105 w 1735"/>
                <a:gd name="T35" fmla="*/ 1138 h 3431"/>
                <a:gd name="T36" fmla="*/ 45 w 1735"/>
                <a:gd name="T37" fmla="*/ 1344 h 3431"/>
                <a:gd name="T38" fmla="*/ 10 w 1735"/>
                <a:gd name="T39" fmla="*/ 1558 h 3431"/>
                <a:gd name="T40" fmla="*/ 1 w 1735"/>
                <a:gd name="T41" fmla="*/ 1773 h 3431"/>
                <a:gd name="T42" fmla="*/ 15 w 1735"/>
                <a:gd name="T43" fmla="*/ 1965 h 3431"/>
                <a:gd name="T44" fmla="*/ 50 w 1735"/>
                <a:gd name="T45" fmla="*/ 2150 h 3431"/>
                <a:gd name="T46" fmla="*/ 104 w 1735"/>
                <a:gd name="T47" fmla="*/ 2327 h 3431"/>
                <a:gd name="T48" fmla="*/ 175 w 1735"/>
                <a:gd name="T49" fmla="*/ 2496 h 3431"/>
                <a:gd name="T50" fmla="*/ 263 w 1735"/>
                <a:gd name="T51" fmla="*/ 2655 h 3431"/>
                <a:gd name="T52" fmla="*/ 367 w 1735"/>
                <a:gd name="T53" fmla="*/ 2803 h 3431"/>
                <a:gd name="T54" fmla="*/ 486 w 1735"/>
                <a:gd name="T55" fmla="*/ 2939 h 3431"/>
                <a:gd name="T56" fmla="*/ 617 w 1735"/>
                <a:gd name="T57" fmla="*/ 3063 h 3431"/>
                <a:gd name="T58" fmla="*/ 760 w 1735"/>
                <a:gd name="T59" fmla="*/ 3172 h 3431"/>
                <a:gd name="T60" fmla="*/ 916 w 1735"/>
                <a:gd name="T61" fmla="*/ 3266 h 3431"/>
                <a:gd name="T62" fmla="*/ 1080 w 1735"/>
                <a:gd name="T63" fmla="*/ 3343 h 3431"/>
                <a:gd name="T64" fmla="*/ 1254 w 1735"/>
                <a:gd name="T65" fmla="*/ 3403 h 3431"/>
                <a:gd name="T66" fmla="*/ 1365 w 1735"/>
                <a:gd name="T67" fmla="*/ 1847 h 3431"/>
                <a:gd name="T68" fmla="*/ 1446 w 1735"/>
                <a:gd name="T69" fmla="*/ 1748 h 3431"/>
                <a:gd name="T70" fmla="*/ 1498 w 1735"/>
                <a:gd name="T71" fmla="*/ 1735 h 3431"/>
                <a:gd name="T72" fmla="*/ 1498 w 1735"/>
                <a:gd name="T73" fmla="*/ 1735 h 3431"/>
                <a:gd name="T74" fmla="*/ 1498 w 1735"/>
                <a:gd name="T75" fmla="*/ 1735 h 3431"/>
                <a:gd name="T76" fmla="*/ 1498 w 1735"/>
                <a:gd name="T77" fmla="*/ 1735 h 3431"/>
                <a:gd name="T78" fmla="*/ 1704 w 1735"/>
                <a:gd name="T79" fmla="*/ 1735 h 3431"/>
                <a:gd name="T80" fmla="*/ 1730 w 1735"/>
                <a:gd name="T81" fmla="*/ 1729 h 3431"/>
                <a:gd name="T82" fmla="*/ 1735 w 1735"/>
                <a:gd name="T83" fmla="*/ 0 h 3431"/>
                <a:gd name="T84" fmla="*/ 1314 w 1735"/>
                <a:gd name="T85" fmla="*/ 1414 h 3431"/>
                <a:gd name="T86" fmla="*/ 1253 w 1735"/>
                <a:gd name="T87" fmla="*/ 1375 h 3431"/>
                <a:gd name="T88" fmla="*/ 1219 w 1735"/>
                <a:gd name="T89" fmla="*/ 1335 h 3431"/>
                <a:gd name="T90" fmla="*/ 1183 w 1735"/>
                <a:gd name="T91" fmla="*/ 1236 h 3431"/>
                <a:gd name="T92" fmla="*/ 1199 w 1735"/>
                <a:gd name="T93" fmla="*/ 1130 h 3431"/>
                <a:gd name="T94" fmla="*/ 1238 w 1735"/>
                <a:gd name="T95" fmla="*/ 1068 h 3431"/>
                <a:gd name="T96" fmla="*/ 1277 w 1735"/>
                <a:gd name="T97" fmla="*/ 1034 h 3431"/>
                <a:gd name="T98" fmla="*/ 1376 w 1735"/>
                <a:gd name="T99" fmla="*/ 998 h 3431"/>
                <a:gd name="T100" fmla="*/ 1482 w 1735"/>
                <a:gd name="T101" fmla="*/ 1014 h 3431"/>
                <a:gd name="T102" fmla="*/ 1544 w 1735"/>
                <a:gd name="T103" fmla="*/ 1053 h 3431"/>
                <a:gd name="T104" fmla="*/ 1578 w 1735"/>
                <a:gd name="T105" fmla="*/ 1093 h 3431"/>
                <a:gd name="T106" fmla="*/ 1614 w 1735"/>
                <a:gd name="T107" fmla="*/ 1192 h 3431"/>
                <a:gd name="T108" fmla="*/ 1598 w 1735"/>
                <a:gd name="T109" fmla="*/ 1298 h 3431"/>
                <a:gd name="T110" fmla="*/ 1558 w 1735"/>
                <a:gd name="T111" fmla="*/ 1360 h 3431"/>
                <a:gd name="T112" fmla="*/ 1519 w 1735"/>
                <a:gd name="T113" fmla="*/ 1394 h 3431"/>
                <a:gd name="T114" fmla="*/ 1421 w 1735"/>
                <a:gd name="T115" fmla="*/ 1430 h 34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735" h="3431">
                  <a:moveTo>
                    <a:pt x="1735" y="0"/>
                  </a:move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4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3" y="0"/>
                  </a:lnTo>
                  <a:lnTo>
                    <a:pt x="1732" y="0"/>
                  </a:lnTo>
                  <a:lnTo>
                    <a:pt x="1732" y="0"/>
                  </a:lnTo>
                  <a:lnTo>
                    <a:pt x="1732" y="0"/>
                  </a:lnTo>
                  <a:lnTo>
                    <a:pt x="1732" y="0"/>
                  </a:lnTo>
                  <a:lnTo>
                    <a:pt x="1732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1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30" y="0"/>
                  </a:lnTo>
                  <a:lnTo>
                    <a:pt x="1729" y="0"/>
                  </a:lnTo>
                  <a:lnTo>
                    <a:pt x="1685" y="1"/>
                  </a:lnTo>
                  <a:lnTo>
                    <a:pt x="1641" y="2"/>
                  </a:lnTo>
                  <a:lnTo>
                    <a:pt x="1597" y="6"/>
                  </a:lnTo>
                  <a:lnTo>
                    <a:pt x="1553" y="10"/>
                  </a:lnTo>
                  <a:lnTo>
                    <a:pt x="1510" y="14"/>
                  </a:lnTo>
                  <a:lnTo>
                    <a:pt x="1466" y="21"/>
                  </a:lnTo>
                  <a:lnTo>
                    <a:pt x="1424" y="28"/>
                  </a:lnTo>
                  <a:lnTo>
                    <a:pt x="1381" y="35"/>
                  </a:lnTo>
                  <a:lnTo>
                    <a:pt x="1339" y="45"/>
                  </a:lnTo>
                  <a:lnTo>
                    <a:pt x="1298" y="55"/>
                  </a:lnTo>
                  <a:lnTo>
                    <a:pt x="1256" y="66"/>
                  </a:lnTo>
                  <a:lnTo>
                    <a:pt x="1215" y="78"/>
                  </a:lnTo>
                  <a:lnTo>
                    <a:pt x="1175" y="92"/>
                  </a:lnTo>
                  <a:lnTo>
                    <a:pt x="1135" y="106"/>
                  </a:lnTo>
                  <a:lnTo>
                    <a:pt x="1095" y="121"/>
                  </a:lnTo>
                  <a:lnTo>
                    <a:pt x="1057" y="136"/>
                  </a:lnTo>
                  <a:lnTo>
                    <a:pt x="1018" y="154"/>
                  </a:lnTo>
                  <a:lnTo>
                    <a:pt x="980" y="172"/>
                  </a:lnTo>
                  <a:lnTo>
                    <a:pt x="943" y="191"/>
                  </a:lnTo>
                  <a:lnTo>
                    <a:pt x="905" y="210"/>
                  </a:lnTo>
                  <a:lnTo>
                    <a:pt x="869" y="230"/>
                  </a:lnTo>
                  <a:lnTo>
                    <a:pt x="833" y="251"/>
                  </a:lnTo>
                  <a:lnTo>
                    <a:pt x="797" y="274"/>
                  </a:lnTo>
                  <a:lnTo>
                    <a:pt x="763" y="297"/>
                  </a:lnTo>
                  <a:lnTo>
                    <a:pt x="728" y="320"/>
                  </a:lnTo>
                  <a:lnTo>
                    <a:pt x="695" y="345"/>
                  </a:lnTo>
                  <a:lnTo>
                    <a:pt x="662" y="370"/>
                  </a:lnTo>
                  <a:lnTo>
                    <a:pt x="630" y="397"/>
                  </a:lnTo>
                  <a:lnTo>
                    <a:pt x="598" y="424"/>
                  </a:lnTo>
                  <a:lnTo>
                    <a:pt x="567" y="451"/>
                  </a:lnTo>
                  <a:lnTo>
                    <a:pt x="536" y="479"/>
                  </a:lnTo>
                  <a:lnTo>
                    <a:pt x="507" y="509"/>
                  </a:lnTo>
                  <a:lnTo>
                    <a:pt x="478" y="539"/>
                  </a:lnTo>
                  <a:lnTo>
                    <a:pt x="450" y="568"/>
                  </a:lnTo>
                  <a:lnTo>
                    <a:pt x="422" y="600"/>
                  </a:lnTo>
                  <a:lnTo>
                    <a:pt x="395" y="632"/>
                  </a:lnTo>
                  <a:lnTo>
                    <a:pt x="369" y="664"/>
                  </a:lnTo>
                  <a:lnTo>
                    <a:pt x="344" y="697"/>
                  </a:lnTo>
                  <a:lnTo>
                    <a:pt x="319" y="731"/>
                  </a:lnTo>
                  <a:lnTo>
                    <a:pt x="296" y="765"/>
                  </a:lnTo>
                  <a:lnTo>
                    <a:pt x="273" y="800"/>
                  </a:lnTo>
                  <a:lnTo>
                    <a:pt x="250" y="835"/>
                  </a:lnTo>
                  <a:lnTo>
                    <a:pt x="229" y="871"/>
                  </a:lnTo>
                  <a:lnTo>
                    <a:pt x="209" y="909"/>
                  </a:lnTo>
                  <a:lnTo>
                    <a:pt x="190" y="945"/>
                  </a:lnTo>
                  <a:lnTo>
                    <a:pt x="171" y="983"/>
                  </a:lnTo>
                  <a:lnTo>
                    <a:pt x="153" y="1021"/>
                  </a:lnTo>
                  <a:lnTo>
                    <a:pt x="136" y="1060"/>
                  </a:lnTo>
                  <a:lnTo>
                    <a:pt x="120" y="1099"/>
                  </a:lnTo>
                  <a:lnTo>
                    <a:pt x="105" y="1138"/>
                  </a:lnTo>
                  <a:lnTo>
                    <a:pt x="91" y="1179"/>
                  </a:lnTo>
                  <a:lnTo>
                    <a:pt x="79" y="1219"/>
                  </a:lnTo>
                  <a:lnTo>
                    <a:pt x="66" y="1260"/>
                  </a:lnTo>
                  <a:lnTo>
                    <a:pt x="55" y="1301"/>
                  </a:lnTo>
                  <a:lnTo>
                    <a:pt x="45" y="1344"/>
                  </a:lnTo>
                  <a:lnTo>
                    <a:pt x="35" y="1385"/>
                  </a:lnTo>
                  <a:lnTo>
                    <a:pt x="28" y="1428"/>
                  </a:lnTo>
                  <a:lnTo>
                    <a:pt x="20" y="1471"/>
                  </a:lnTo>
                  <a:lnTo>
                    <a:pt x="14" y="1514"/>
                  </a:lnTo>
                  <a:lnTo>
                    <a:pt x="10" y="1558"/>
                  </a:lnTo>
                  <a:lnTo>
                    <a:pt x="5" y="1601"/>
                  </a:lnTo>
                  <a:lnTo>
                    <a:pt x="2" y="1646"/>
                  </a:lnTo>
                  <a:lnTo>
                    <a:pt x="1" y="1690"/>
                  </a:lnTo>
                  <a:lnTo>
                    <a:pt x="0" y="1735"/>
                  </a:lnTo>
                  <a:lnTo>
                    <a:pt x="1" y="1773"/>
                  </a:lnTo>
                  <a:lnTo>
                    <a:pt x="2" y="1813"/>
                  </a:lnTo>
                  <a:lnTo>
                    <a:pt x="4" y="1851"/>
                  </a:lnTo>
                  <a:lnTo>
                    <a:pt x="7" y="1889"/>
                  </a:lnTo>
                  <a:lnTo>
                    <a:pt x="11" y="1928"/>
                  </a:lnTo>
                  <a:lnTo>
                    <a:pt x="15" y="1965"/>
                  </a:lnTo>
                  <a:lnTo>
                    <a:pt x="21" y="2002"/>
                  </a:lnTo>
                  <a:lnTo>
                    <a:pt x="27" y="2039"/>
                  </a:lnTo>
                  <a:lnTo>
                    <a:pt x="34" y="2077"/>
                  </a:lnTo>
                  <a:lnTo>
                    <a:pt x="41" y="2114"/>
                  </a:lnTo>
                  <a:lnTo>
                    <a:pt x="50" y="2150"/>
                  </a:lnTo>
                  <a:lnTo>
                    <a:pt x="59" y="2186"/>
                  </a:lnTo>
                  <a:lnTo>
                    <a:pt x="69" y="2221"/>
                  </a:lnTo>
                  <a:lnTo>
                    <a:pt x="80" y="2257"/>
                  </a:lnTo>
                  <a:lnTo>
                    <a:pt x="91" y="2292"/>
                  </a:lnTo>
                  <a:lnTo>
                    <a:pt x="104" y="2327"/>
                  </a:lnTo>
                  <a:lnTo>
                    <a:pt x="117" y="2362"/>
                  </a:lnTo>
                  <a:lnTo>
                    <a:pt x="130" y="2396"/>
                  </a:lnTo>
                  <a:lnTo>
                    <a:pt x="144" y="2430"/>
                  </a:lnTo>
                  <a:lnTo>
                    <a:pt x="159" y="2463"/>
                  </a:lnTo>
                  <a:lnTo>
                    <a:pt x="175" y="2496"/>
                  </a:lnTo>
                  <a:lnTo>
                    <a:pt x="192" y="2529"/>
                  </a:lnTo>
                  <a:lnTo>
                    <a:pt x="209" y="2561"/>
                  </a:lnTo>
                  <a:lnTo>
                    <a:pt x="226" y="2592"/>
                  </a:lnTo>
                  <a:lnTo>
                    <a:pt x="244" y="2623"/>
                  </a:lnTo>
                  <a:lnTo>
                    <a:pt x="263" y="2655"/>
                  </a:lnTo>
                  <a:lnTo>
                    <a:pt x="283" y="2685"/>
                  </a:lnTo>
                  <a:lnTo>
                    <a:pt x="303" y="2716"/>
                  </a:lnTo>
                  <a:lnTo>
                    <a:pt x="323" y="2745"/>
                  </a:lnTo>
                  <a:lnTo>
                    <a:pt x="345" y="2774"/>
                  </a:lnTo>
                  <a:lnTo>
                    <a:pt x="367" y="2803"/>
                  </a:lnTo>
                  <a:lnTo>
                    <a:pt x="389" y="2831"/>
                  </a:lnTo>
                  <a:lnTo>
                    <a:pt x="412" y="2859"/>
                  </a:lnTo>
                  <a:lnTo>
                    <a:pt x="436" y="2886"/>
                  </a:lnTo>
                  <a:lnTo>
                    <a:pt x="460" y="2913"/>
                  </a:lnTo>
                  <a:lnTo>
                    <a:pt x="486" y="2939"/>
                  </a:lnTo>
                  <a:lnTo>
                    <a:pt x="511" y="2965"/>
                  </a:lnTo>
                  <a:lnTo>
                    <a:pt x="536" y="2990"/>
                  </a:lnTo>
                  <a:lnTo>
                    <a:pt x="563" y="3015"/>
                  </a:lnTo>
                  <a:lnTo>
                    <a:pt x="589" y="3039"/>
                  </a:lnTo>
                  <a:lnTo>
                    <a:pt x="617" y="3063"/>
                  </a:lnTo>
                  <a:lnTo>
                    <a:pt x="645" y="3086"/>
                  </a:lnTo>
                  <a:lnTo>
                    <a:pt x="673" y="3108"/>
                  </a:lnTo>
                  <a:lnTo>
                    <a:pt x="702" y="3130"/>
                  </a:lnTo>
                  <a:lnTo>
                    <a:pt x="730" y="3151"/>
                  </a:lnTo>
                  <a:lnTo>
                    <a:pt x="760" y="3172"/>
                  </a:lnTo>
                  <a:lnTo>
                    <a:pt x="791" y="3191"/>
                  </a:lnTo>
                  <a:lnTo>
                    <a:pt x="822" y="3211"/>
                  </a:lnTo>
                  <a:lnTo>
                    <a:pt x="852" y="3230"/>
                  </a:lnTo>
                  <a:lnTo>
                    <a:pt x="884" y="3248"/>
                  </a:lnTo>
                  <a:lnTo>
                    <a:pt x="916" y="3266"/>
                  </a:lnTo>
                  <a:lnTo>
                    <a:pt x="948" y="3283"/>
                  </a:lnTo>
                  <a:lnTo>
                    <a:pt x="981" y="3299"/>
                  </a:lnTo>
                  <a:lnTo>
                    <a:pt x="1014" y="3314"/>
                  </a:lnTo>
                  <a:lnTo>
                    <a:pt x="1046" y="3328"/>
                  </a:lnTo>
                  <a:lnTo>
                    <a:pt x="1080" y="3343"/>
                  </a:lnTo>
                  <a:lnTo>
                    <a:pt x="1114" y="3356"/>
                  </a:lnTo>
                  <a:lnTo>
                    <a:pt x="1149" y="3369"/>
                  </a:lnTo>
                  <a:lnTo>
                    <a:pt x="1184" y="3382"/>
                  </a:lnTo>
                  <a:lnTo>
                    <a:pt x="1219" y="3392"/>
                  </a:lnTo>
                  <a:lnTo>
                    <a:pt x="1254" y="3403"/>
                  </a:lnTo>
                  <a:lnTo>
                    <a:pt x="1290" y="3412"/>
                  </a:lnTo>
                  <a:lnTo>
                    <a:pt x="1326" y="3422"/>
                  </a:lnTo>
                  <a:lnTo>
                    <a:pt x="1362" y="3431"/>
                  </a:lnTo>
                  <a:lnTo>
                    <a:pt x="1362" y="1873"/>
                  </a:lnTo>
                  <a:lnTo>
                    <a:pt x="1365" y="1847"/>
                  </a:lnTo>
                  <a:lnTo>
                    <a:pt x="1374" y="1821"/>
                  </a:lnTo>
                  <a:lnTo>
                    <a:pt x="1387" y="1798"/>
                  </a:lnTo>
                  <a:lnTo>
                    <a:pt x="1403" y="1778"/>
                  </a:lnTo>
                  <a:lnTo>
                    <a:pt x="1423" y="1761"/>
                  </a:lnTo>
                  <a:lnTo>
                    <a:pt x="1446" y="1748"/>
                  </a:lnTo>
                  <a:lnTo>
                    <a:pt x="1470" y="1739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498" y="1735"/>
                  </a:lnTo>
                  <a:lnTo>
                    <a:pt x="1691" y="1735"/>
                  </a:lnTo>
                  <a:lnTo>
                    <a:pt x="1697" y="1735"/>
                  </a:lnTo>
                  <a:lnTo>
                    <a:pt x="1704" y="1735"/>
                  </a:lnTo>
                  <a:lnTo>
                    <a:pt x="1711" y="1735"/>
                  </a:lnTo>
                  <a:lnTo>
                    <a:pt x="1719" y="1734"/>
                  </a:lnTo>
                  <a:lnTo>
                    <a:pt x="1723" y="1733"/>
                  </a:lnTo>
                  <a:lnTo>
                    <a:pt x="1727" y="1732"/>
                  </a:lnTo>
                  <a:lnTo>
                    <a:pt x="1730" y="1729"/>
                  </a:lnTo>
                  <a:lnTo>
                    <a:pt x="1732" y="1727"/>
                  </a:lnTo>
                  <a:lnTo>
                    <a:pt x="1733" y="1724"/>
                  </a:lnTo>
                  <a:lnTo>
                    <a:pt x="1734" y="1720"/>
                  </a:lnTo>
                  <a:lnTo>
                    <a:pt x="1734" y="1717"/>
                  </a:lnTo>
                  <a:lnTo>
                    <a:pt x="1735" y="0"/>
                  </a:lnTo>
                  <a:close/>
                  <a:moveTo>
                    <a:pt x="1398" y="1431"/>
                  </a:moveTo>
                  <a:lnTo>
                    <a:pt x="1376" y="1430"/>
                  </a:lnTo>
                  <a:lnTo>
                    <a:pt x="1355" y="1427"/>
                  </a:lnTo>
                  <a:lnTo>
                    <a:pt x="1334" y="1421"/>
                  </a:lnTo>
                  <a:lnTo>
                    <a:pt x="1314" y="1414"/>
                  </a:lnTo>
                  <a:lnTo>
                    <a:pt x="1296" y="1404"/>
                  </a:lnTo>
                  <a:lnTo>
                    <a:pt x="1277" y="1394"/>
                  </a:lnTo>
                  <a:lnTo>
                    <a:pt x="1269" y="1387"/>
                  </a:lnTo>
                  <a:lnTo>
                    <a:pt x="1261" y="1381"/>
                  </a:lnTo>
                  <a:lnTo>
                    <a:pt x="1253" y="1375"/>
                  </a:lnTo>
                  <a:lnTo>
                    <a:pt x="1246" y="1367"/>
                  </a:lnTo>
                  <a:lnTo>
                    <a:pt x="1238" y="1360"/>
                  </a:lnTo>
                  <a:lnTo>
                    <a:pt x="1231" y="1352"/>
                  </a:lnTo>
                  <a:lnTo>
                    <a:pt x="1224" y="1344"/>
                  </a:lnTo>
                  <a:lnTo>
                    <a:pt x="1219" y="1335"/>
                  </a:lnTo>
                  <a:lnTo>
                    <a:pt x="1209" y="1317"/>
                  </a:lnTo>
                  <a:lnTo>
                    <a:pt x="1199" y="1298"/>
                  </a:lnTo>
                  <a:lnTo>
                    <a:pt x="1192" y="1279"/>
                  </a:lnTo>
                  <a:lnTo>
                    <a:pt x="1186" y="1258"/>
                  </a:lnTo>
                  <a:lnTo>
                    <a:pt x="1183" y="1236"/>
                  </a:lnTo>
                  <a:lnTo>
                    <a:pt x="1182" y="1214"/>
                  </a:lnTo>
                  <a:lnTo>
                    <a:pt x="1183" y="1192"/>
                  </a:lnTo>
                  <a:lnTo>
                    <a:pt x="1186" y="1170"/>
                  </a:lnTo>
                  <a:lnTo>
                    <a:pt x="1192" y="1149"/>
                  </a:lnTo>
                  <a:lnTo>
                    <a:pt x="1199" y="1130"/>
                  </a:lnTo>
                  <a:lnTo>
                    <a:pt x="1209" y="1111"/>
                  </a:lnTo>
                  <a:lnTo>
                    <a:pt x="1219" y="1093"/>
                  </a:lnTo>
                  <a:lnTo>
                    <a:pt x="1224" y="1084"/>
                  </a:lnTo>
                  <a:lnTo>
                    <a:pt x="1231" y="1076"/>
                  </a:lnTo>
                  <a:lnTo>
                    <a:pt x="1238" y="1068"/>
                  </a:lnTo>
                  <a:lnTo>
                    <a:pt x="1246" y="1061"/>
                  </a:lnTo>
                  <a:lnTo>
                    <a:pt x="1253" y="1053"/>
                  </a:lnTo>
                  <a:lnTo>
                    <a:pt x="1261" y="1047"/>
                  </a:lnTo>
                  <a:lnTo>
                    <a:pt x="1269" y="1041"/>
                  </a:lnTo>
                  <a:lnTo>
                    <a:pt x="1277" y="1034"/>
                  </a:lnTo>
                  <a:lnTo>
                    <a:pt x="1296" y="1024"/>
                  </a:lnTo>
                  <a:lnTo>
                    <a:pt x="1314" y="1014"/>
                  </a:lnTo>
                  <a:lnTo>
                    <a:pt x="1334" y="1007"/>
                  </a:lnTo>
                  <a:lnTo>
                    <a:pt x="1355" y="1001"/>
                  </a:lnTo>
                  <a:lnTo>
                    <a:pt x="1376" y="998"/>
                  </a:lnTo>
                  <a:lnTo>
                    <a:pt x="1398" y="997"/>
                  </a:lnTo>
                  <a:lnTo>
                    <a:pt x="1421" y="998"/>
                  </a:lnTo>
                  <a:lnTo>
                    <a:pt x="1442" y="1001"/>
                  </a:lnTo>
                  <a:lnTo>
                    <a:pt x="1462" y="1007"/>
                  </a:lnTo>
                  <a:lnTo>
                    <a:pt x="1482" y="1014"/>
                  </a:lnTo>
                  <a:lnTo>
                    <a:pt x="1501" y="1024"/>
                  </a:lnTo>
                  <a:lnTo>
                    <a:pt x="1519" y="1034"/>
                  </a:lnTo>
                  <a:lnTo>
                    <a:pt x="1528" y="1041"/>
                  </a:lnTo>
                  <a:lnTo>
                    <a:pt x="1535" y="1047"/>
                  </a:lnTo>
                  <a:lnTo>
                    <a:pt x="1544" y="1053"/>
                  </a:lnTo>
                  <a:lnTo>
                    <a:pt x="1551" y="1061"/>
                  </a:lnTo>
                  <a:lnTo>
                    <a:pt x="1558" y="1068"/>
                  </a:lnTo>
                  <a:lnTo>
                    <a:pt x="1565" y="1076"/>
                  </a:lnTo>
                  <a:lnTo>
                    <a:pt x="1571" y="1084"/>
                  </a:lnTo>
                  <a:lnTo>
                    <a:pt x="1578" y="1093"/>
                  </a:lnTo>
                  <a:lnTo>
                    <a:pt x="1588" y="1111"/>
                  </a:lnTo>
                  <a:lnTo>
                    <a:pt x="1598" y="1130"/>
                  </a:lnTo>
                  <a:lnTo>
                    <a:pt x="1604" y="1149"/>
                  </a:lnTo>
                  <a:lnTo>
                    <a:pt x="1609" y="1170"/>
                  </a:lnTo>
                  <a:lnTo>
                    <a:pt x="1614" y="1192"/>
                  </a:lnTo>
                  <a:lnTo>
                    <a:pt x="1615" y="1214"/>
                  </a:lnTo>
                  <a:lnTo>
                    <a:pt x="1614" y="1236"/>
                  </a:lnTo>
                  <a:lnTo>
                    <a:pt x="1609" y="1258"/>
                  </a:lnTo>
                  <a:lnTo>
                    <a:pt x="1604" y="1279"/>
                  </a:lnTo>
                  <a:lnTo>
                    <a:pt x="1598" y="1298"/>
                  </a:lnTo>
                  <a:lnTo>
                    <a:pt x="1588" y="1317"/>
                  </a:lnTo>
                  <a:lnTo>
                    <a:pt x="1578" y="1335"/>
                  </a:lnTo>
                  <a:lnTo>
                    <a:pt x="1571" y="1344"/>
                  </a:lnTo>
                  <a:lnTo>
                    <a:pt x="1565" y="1352"/>
                  </a:lnTo>
                  <a:lnTo>
                    <a:pt x="1558" y="1360"/>
                  </a:lnTo>
                  <a:lnTo>
                    <a:pt x="1551" y="1367"/>
                  </a:lnTo>
                  <a:lnTo>
                    <a:pt x="1544" y="1375"/>
                  </a:lnTo>
                  <a:lnTo>
                    <a:pt x="1535" y="1381"/>
                  </a:lnTo>
                  <a:lnTo>
                    <a:pt x="1528" y="1387"/>
                  </a:lnTo>
                  <a:lnTo>
                    <a:pt x="1519" y="1394"/>
                  </a:lnTo>
                  <a:lnTo>
                    <a:pt x="1501" y="1404"/>
                  </a:lnTo>
                  <a:lnTo>
                    <a:pt x="1482" y="1414"/>
                  </a:lnTo>
                  <a:lnTo>
                    <a:pt x="1462" y="1421"/>
                  </a:lnTo>
                  <a:lnTo>
                    <a:pt x="1442" y="1427"/>
                  </a:lnTo>
                  <a:lnTo>
                    <a:pt x="1421" y="1430"/>
                  </a:lnTo>
                  <a:lnTo>
                    <a:pt x="1398" y="1431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defTabSz="685983"/>
              <a:endParaRPr lang="ru-RU" sz="1350" dirty="0">
                <a:solidFill>
                  <a:srgbClr val="000000"/>
                </a:solidFill>
              </a:endParaRPr>
            </a:p>
          </p:txBody>
        </p:sp>
      </p:grpSp>
      <p:cxnSp>
        <p:nvCxnSpPr>
          <p:cNvPr id="20" name="Прямая соединительная линия 71"/>
          <p:cNvCxnSpPr/>
          <p:nvPr userDrawn="1"/>
        </p:nvCxnSpPr>
        <p:spPr>
          <a:xfrm>
            <a:off x="0" y="728507"/>
            <a:ext cx="9146932" cy="0"/>
          </a:xfrm>
          <a:prstGeom prst="line">
            <a:avLst/>
          </a:prstGeom>
          <a:noFill/>
          <a:ln w="9525" cap="flat" cmpd="sng" algn="ctr">
            <a:solidFill>
              <a:srgbClr val="616365"/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10140980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685777" rtl="0" eaLnBrk="1" latinLnBrk="0" hangingPunct="1">
        <a:spcBef>
          <a:spcPct val="0"/>
        </a:spcBef>
        <a:buNone/>
        <a:defRPr sz="1800" b="0" kern="1200">
          <a:solidFill>
            <a:srgbClr val="57088C"/>
          </a:solidFill>
          <a:latin typeface="+mj-lt"/>
          <a:ea typeface="+mj-ea"/>
          <a:cs typeface="+mj-cs"/>
        </a:defRPr>
      </a:lvl1pPr>
    </p:titleStyle>
    <p:bodyStyle>
      <a:lvl1pPr marL="0" indent="0" algn="l" defTabSz="685777" rtl="0" eaLnBrk="1" latinLnBrk="0" hangingPunct="1">
        <a:spcBef>
          <a:spcPct val="20000"/>
        </a:spcBef>
        <a:buFontTx/>
        <a:buNone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9" indent="-171444" algn="l" defTabSz="685777" rtl="0" eaLnBrk="1" latinLnBrk="0" hangingPunct="1">
        <a:spcBef>
          <a:spcPct val="20000"/>
        </a:spcBef>
        <a:buClr>
          <a:srgbClr val="57088C"/>
        </a:buClr>
        <a:buFont typeface="Arial" pitchFamily="34" charset="0"/>
        <a:buChar char="•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indent="-171444" algn="l" defTabSz="685777" rtl="0" eaLnBrk="1" latinLnBrk="0" hangingPunct="1">
        <a:spcBef>
          <a:spcPct val="20000"/>
        </a:spcBef>
        <a:buClr>
          <a:srgbClr val="57088C"/>
        </a:buClr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1032238" indent="-175016" algn="l" defTabSz="685777" rtl="0" eaLnBrk="1" latinLnBrk="0" hangingPunct="1">
        <a:spcBef>
          <a:spcPct val="20000"/>
        </a:spcBef>
        <a:buClr>
          <a:srgbClr val="57088C"/>
        </a:buClr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1544189" indent="-172635" algn="l" defTabSz="685777" rtl="0" eaLnBrk="1" latinLnBrk="0" hangingPunct="1">
        <a:spcBef>
          <a:spcPct val="20000"/>
        </a:spcBef>
        <a:buClr>
          <a:srgbClr val="57088C"/>
        </a:buClr>
        <a:buFont typeface="Arial" pitchFamily="34" charset="0"/>
        <a:buChar char="–"/>
        <a:defRPr sz="12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1885887" indent="-171444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775" indent="-171444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664" indent="-171444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553" indent="-171444" algn="l" defTabSz="685777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77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889" algn="l" defTabSz="68577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777" algn="l" defTabSz="68577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66" algn="l" defTabSz="68577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54" algn="l" defTabSz="68577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43" algn="l" defTabSz="68577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31" algn="l" defTabSz="68577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20" algn="l" defTabSz="68577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09" algn="l" defTabSz="68577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6.emf"/><Relationship Id="rId2" Type="http://schemas.openxmlformats.org/officeDocument/2006/relationships/tags" Target="../tags/tag14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1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 smtClean="0"/>
              <a:t>C</a:t>
            </a:r>
            <a:r>
              <a:rPr lang="ru-RU" sz="2400" dirty="0" err="1" smtClean="0"/>
              <a:t>истематизаци</a:t>
            </a:r>
            <a:r>
              <a:rPr lang="ru-RU" sz="2400" dirty="0" err="1"/>
              <a:t>я</a:t>
            </a:r>
            <a:r>
              <a:rPr lang="ru-RU" sz="2400" dirty="0" smtClean="0"/>
              <a:t> законодательства о связи  </a:t>
            </a:r>
            <a:r>
              <a:rPr lang="ru-RU" sz="2400" smtClean="0"/>
              <a:t>и информации</a:t>
            </a:r>
            <a:endParaRPr lang="ru-RU" sz="2400" dirty="0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1"/>
          </p:nvPr>
        </p:nvSpPr>
        <p:spPr>
          <a:xfrm>
            <a:off x="288000" y="2700822"/>
            <a:ext cx="7108825" cy="224107"/>
          </a:xfrm>
        </p:spPr>
        <p:txBody>
          <a:bodyPr/>
          <a:lstStyle/>
          <a:p>
            <a:r>
              <a:rPr lang="ru-RU" dirty="0" smtClean="0"/>
              <a:t>Никита Данилов</a:t>
            </a:r>
          </a:p>
        </p:txBody>
      </p:sp>
    </p:spTree>
    <p:extLst>
      <p:ext uri="{BB962C8B-B14F-4D97-AF65-F5344CB8AC3E}">
        <p14:creationId xmlns:p14="http://schemas.microsoft.com/office/powerpoint/2010/main" val="11743299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3"/>
            </p:custDataLst>
            <p:extLst/>
          </p:nvPr>
        </p:nvGraphicFramePr>
        <p:xfrm>
          <a:off x="1192" y="1192"/>
          <a:ext cx="119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/>
        </p:nvSpPr>
        <p:spPr>
          <a:xfrm>
            <a:off x="4453233" y="3009813"/>
            <a:ext cx="804097" cy="1207528"/>
          </a:xfrm>
          <a:prstGeom prst="rect">
            <a:avLst/>
          </a:prstGeom>
          <a:solidFill>
            <a:srgbClr val="F2F2F2"/>
          </a:solidFill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buSzPct val="100000"/>
            </a:pPr>
            <a:r>
              <a:rPr lang="ru-RU" sz="9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Все подзаконные НПА</a:t>
            </a:r>
            <a:endParaRPr lang="ru-RU" sz="900" baseline="30000" dirty="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500" y="467244"/>
            <a:ext cx="8354978" cy="768909"/>
          </a:xfrm>
          <a:ln cap="rnd">
            <a:noFill/>
          </a:ln>
        </p:spPr>
        <p:txBody>
          <a:bodyPr/>
          <a:lstStyle/>
          <a:p>
            <a:r>
              <a:rPr lang="ru-RU" sz="1800" dirty="0" smtClean="0"/>
              <a:t>Систематизация законодательства должна </a:t>
            </a:r>
            <a:r>
              <a:rPr lang="ru-RU" sz="1800" dirty="0"/>
              <a:t>создать нормы отношений внутри инфокоммуникационной отрасли и повысить взаимное доверие участников</a:t>
            </a:r>
            <a:r>
              <a:rPr lang="ru-RU" sz="2100" dirty="0"/>
              <a:t/>
            </a:r>
            <a:br>
              <a:rPr lang="ru-RU" sz="2100" dirty="0"/>
            </a:br>
            <a:r>
              <a:rPr lang="ru-RU" sz="1200" dirty="0"/>
              <a:t/>
            </a:r>
            <a:br>
              <a:rPr lang="ru-RU" sz="1200" dirty="0"/>
            </a:br>
            <a:endParaRPr lang="en-US" sz="800" dirty="0">
              <a:solidFill>
                <a:srgbClr val="575757"/>
              </a:solidFill>
            </a:endParaRPr>
          </a:p>
        </p:txBody>
      </p:sp>
      <p:sp>
        <p:nvSpPr>
          <p:cNvPr id="3" name="ee4pFootnotes"/>
          <p:cNvSpPr>
            <a:spLocks noChangeArrowheads="1"/>
          </p:cNvSpPr>
          <p:nvPr/>
        </p:nvSpPr>
        <p:spPr bwMode="auto">
          <a:xfrm>
            <a:off x="472499" y="4552916"/>
            <a:ext cx="7985701" cy="369332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1. Федеральный закон от 07.07.2003 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N</a:t>
            </a: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 126-ФЗ 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(</a:t>
            </a: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ред. от 07.06.2017) 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"</a:t>
            </a: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О связи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" 2. </a:t>
            </a: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Федеральный закон от 27.07.2016 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N</a:t>
            </a: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 149-ФЗ 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(</a:t>
            </a: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ред. от 25.11.2017) 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"</a:t>
            </a: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Об информации, информационных технологиях и о защите информации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". 3. </a:t>
            </a: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Федеральный закон от 27.07.2006 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N</a:t>
            </a: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 152-ФЗ 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"</a:t>
            </a: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О персональных данных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"</a:t>
            </a: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 (ред. от 29.07.2017). 4. Закон РФ от 27.12.1991 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N</a:t>
            </a: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 2124-1 (ред. от 25.11.2017) 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""</a:t>
            </a: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О средствах массовой информации</a:t>
            </a:r>
            <a:r>
              <a:rPr lang="en-US" sz="8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"</a:t>
            </a:r>
          </a:p>
        </p:txBody>
      </p:sp>
      <p:sp>
        <p:nvSpPr>
          <p:cNvPr id="4" name="Rectangle 3"/>
          <p:cNvSpPr/>
          <p:nvPr/>
        </p:nvSpPr>
        <p:spPr>
          <a:xfrm>
            <a:off x="886144" y="1554965"/>
            <a:ext cx="4457381" cy="1949979"/>
          </a:xfrm>
          <a:prstGeom prst="rect">
            <a:avLst/>
          </a:prstGeom>
          <a:noFill/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endParaRPr lang="ru-RU" sz="900" dirty="0" err="1">
              <a:solidFill>
                <a:srgbClr val="FFFFFF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>
          <a:xfrm>
            <a:off x="984750" y="3009813"/>
            <a:ext cx="804097" cy="1207528"/>
            <a:chOff x="1109799" y="4011844"/>
            <a:chExt cx="1072129" cy="1609541"/>
          </a:xfrm>
        </p:grpSpPr>
        <p:sp>
          <p:nvSpPr>
            <p:cNvPr id="9" name="Rectangle 8"/>
            <p:cNvSpPr/>
            <p:nvPr/>
          </p:nvSpPr>
          <p:spPr>
            <a:xfrm>
              <a:off x="1109799" y="4011844"/>
              <a:ext cx="1072129" cy="1609541"/>
            </a:xfrm>
            <a:prstGeom prst="rect">
              <a:avLst/>
            </a:prstGeom>
            <a:noFill/>
            <a:ln w="9525" cap="rnd" cmpd="sng" algn="ctr">
              <a:solidFill>
                <a:srgbClr val="9A9A9A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750"/>
                </a:spcAft>
              </a:pPr>
              <a:endParaRPr lang="ru-RU" sz="900" dirty="0" err="1">
                <a:solidFill>
                  <a:srgbClr val="FFFFFF"/>
                </a:solidFill>
              </a:endParaRPr>
            </a:p>
          </p:txBody>
        </p:sp>
        <p:sp>
          <p:nvSpPr>
            <p:cNvPr id="14" name="Rectangle 13"/>
            <p:cNvSpPr/>
            <p:nvPr/>
          </p:nvSpPr>
          <p:spPr>
            <a:xfrm>
              <a:off x="1124139" y="4909390"/>
              <a:ext cx="1043449" cy="455369"/>
            </a:xfrm>
            <a:prstGeom prst="rect">
              <a:avLst/>
            </a:prstGeom>
          </p:spPr>
          <p:txBody>
            <a:bodyPr wrap="none" anchor="ctr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750"/>
                </a:spcAft>
              </a:pPr>
              <a:r>
                <a:rPr lang="ru-RU" sz="900" dirty="0">
                  <a:solidFill>
                    <a:srgbClr val="575757"/>
                  </a:solidFill>
                </a:rPr>
                <a:t>ФЗ 126 </a:t>
              </a:r>
              <a:r>
                <a:rPr lang="en-US" sz="900" dirty="0">
                  <a:solidFill>
                    <a:srgbClr val="575757"/>
                  </a:solidFill>
                </a:rPr>
                <a:t/>
              </a:r>
              <a:br>
                <a:rPr lang="en-US" sz="900" dirty="0">
                  <a:solidFill>
                    <a:srgbClr val="575757"/>
                  </a:solidFill>
                </a:rPr>
              </a:br>
              <a:r>
                <a:rPr lang="en-US" sz="900" dirty="0">
                  <a:solidFill>
                    <a:srgbClr val="575757"/>
                  </a:solidFill>
                </a:rPr>
                <a:t>“</a:t>
              </a:r>
              <a:r>
                <a:rPr lang="ru-RU" sz="900" dirty="0">
                  <a:solidFill>
                    <a:srgbClr val="575757"/>
                  </a:solidFill>
                </a:rPr>
                <a:t>О Связи</a:t>
              </a:r>
              <a:r>
                <a:rPr lang="en-US" sz="900" dirty="0">
                  <a:solidFill>
                    <a:srgbClr val="575757"/>
                  </a:solidFill>
                </a:rPr>
                <a:t>”</a:t>
              </a:r>
              <a:r>
                <a:rPr lang="en-US" sz="900" baseline="30000" dirty="0">
                  <a:solidFill>
                    <a:srgbClr val="575757"/>
                  </a:solidFill>
                </a:rPr>
                <a:t>1</a:t>
              </a:r>
              <a:r>
                <a:rPr lang="en-US" sz="900" dirty="0">
                  <a:solidFill>
                    <a:srgbClr val="575757"/>
                  </a:solidFill>
                </a:rPr>
                <a:t> </a:t>
              </a:r>
              <a:endParaRPr lang="ru-RU" sz="900" dirty="0">
                <a:solidFill>
                  <a:srgbClr val="575757"/>
                </a:solidFill>
              </a:endParaRPr>
            </a:p>
          </p:txBody>
        </p:sp>
        <p:grpSp>
          <p:nvGrpSpPr>
            <p:cNvPr id="20" name="bcgIcons_RadioTower">
              <a:extLst>
                <a:ext uri="{FF2B5EF4-FFF2-40B4-BE49-F238E27FC236}">
                  <a16:creationId xmlns:a16="http://schemas.microsoft.com/office/drawing/2014/main" xmlns="" id="{A8FEB43D-91EE-4932-93E9-1B55A2DB8C84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376113" y="4096509"/>
              <a:ext cx="539501" cy="540000"/>
              <a:chOff x="1682" y="0"/>
              <a:chExt cx="4316" cy="4320"/>
            </a:xfrm>
          </p:grpSpPr>
          <p:sp>
            <p:nvSpPr>
              <p:cNvPr id="21" name="AutoShape 18">
                <a:extLst>
                  <a:ext uri="{FF2B5EF4-FFF2-40B4-BE49-F238E27FC236}">
                    <a16:creationId xmlns:a16="http://schemas.microsoft.com/office/drawing/2014/main" xmlns="" id="{453E67F6-E6EF-40EB-A252-1C09FBDD2B62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22" name="Freeform 20">
                <a:extLst>
                  <a:ext uri="{FF2B5EF4-FFF2-40B4-BE49-F238E27FC236}">
                    <a16:creationId xmlns:a16="http://schemas.microsoft.com/office/drawing/2014/main" xmlns="" id="{D5D54C5F-055D-4434-9BD3-CA68A7A66C4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812" y="1198"/>
                <a:ext cx="2056" cy="2711"/>
              </a:xfrm>
              <a:custGeom>
                <a:avLst/>
                <a:gdLst>
                  <a:gd name="T0" fmla="*/ 1094 w 1098"/>
                  <a:gd name="T1" fmla="*/ 1414 h 1446"/>
                  <a:gd name="T2" fmla="*/ 607 w 1098"/>
                  <a:gd name="T3" fmla="*/ 0 h 1446"/>
                  <a:gd name="T4" fmla="*/ 565 w 1098"/>
                  <a:gd name="T5" fmla="*/ 14 h 1446"/>
                  <a:gd name="T6" fmla="*/ 623 w 1098"/>
                  <a:gd name="T7" fmla="*/ 183 h 1446"/>
                  <a:gd name="T8" fmla="*/ 475 w 1098"/>
                  <a:gd name="T9" fmla="*/ 183 h 1446"/>
                  <a:gd name="T10" fmla="*/ 533 w 1098"/>
                  <a:gd name="T11" fmla="*/ 14 h 1446"/>
                  <a:gd name="T12" fmla="*/ 491 w 1098"/>
                  <a:gd name="T13" fmla="*/ 0 h 1446"/>
                  <a:gd name="T14" fmla="*/ 4 w 1098"/>
                  <a:gd name="T15" fmla="*/ 1414 h 1446"/>
                  <a:gd name="T16" fmla="*/ 18 w 1098"/>
                  <a:gd name="T17" fmla="*/ 1442 h 1446"/>
                  <a:gd name="T18" fmla="*/ 46 w 1098"/>
                  <a:gd name="T19" fmla="*/ 1429 h 1446"/>
                  <a:gd name="T20" fmla="*/ 145 w 1098"/>
                  <a:gd name="T21" fmla="*/ 1139 h 1446"/>
                  <a:gd name="T22" fmla="*/ 953 w 1098"/>
                  <a:gd name="T23" fmla="*/ 1139 h 1446"/>
                  <a:gd name="T24" fmla="*/ 1052 w 1098"/>
                  <a:gd name="T25" fmla="*/ 1429 h 1446"/>
                  <a:gd name="T26" fmla="*/ 1073 w 1098"/>
                  <a:gd name="T27" fmla="*/ 1443 h 1446"/>
                  <a:gd name="T28" fmla="*/ 1080 w 1098"/>
                  <a:gd name="T29" fmla="*/ 1442 h 1446"/>
                  <a:gd name="T30" fmla="*/ 1094 w 1098"/>
                  <a:gd name="T31" fmla="*/ 1414 h 1446"/>
                  <a:gd name="T32" fmla="*/ 826 w 1098"/>
                  <a:gd name="T33" fmla="*/ 771 h 1446"/>
                  <a:gd name="T34" fmla="*/ 592 w 1098"/>
                  <a:gd name="T35" fmla="*/ 633 h 1446"/>
                  <a:gd name="T36" fmla="*/ 747 w 1098"/>
                  <a:gd name="T37" fmla="*/ 542 h 1446"/>
                  <a:gd name="T38" fmla="*/ 826 w 1098"/>
                  <a:gd name="T39" fmla="*/ 771 h 1446"/>
                  <a:gd name="T40" fmla="*/ 324 w 1098"/>
                  <a:gd name="T41" fmla="*/ 791 h 1446"/>
                  <a:gd name="T42" fmla="*/ 549 w 1098"/>
                  <a:gd name="T43" fmla="*/ 658 h 1446"/>
                  <a:gd name="T44" fmla="*/ 774 w 1098"/>
                  <a:gd name="T45" fmla="*/ 791 h 1446"/>
                  <a:gd name="T46" fmla="*/ 324 w 1098"/>
                  <a:gd name="T47" fmla="*/ 791 h 1446"/>
                  <a:gd name="T48" fmla="*/ 745 w 1098"/>
                  <a:gd name="T49" fmla="*/ 835 h 1446"/>
                  <a:gd name="T50" fmla="*/ 549 w 1098"/>
                  <a:gd name="T51" fmla="*/ 917 h 1446"/>
                  <a:gd name="T52" fmla="*/ 353 w 1098"/>
                  <a:gd name="T53" fmla="*/ 835 h 1446"/>
                  <a:gd name="T54" fmla="*/ 745 w 1098"/>
                  <a:gd name="T55" fmla="*/ 835 h 1446"/>
                  <a:gd name="T56" fmla="*/ 420 w 1098"/>
                  <a:gd name="T57" fmla="*/ 531 h 1446"/>
                  <a:gd name="T58" fmla="*/ 678 w 1098"/>
                  <a:gd name="T59" fmla="*/ 531 h 1446"/>
                  <a:gd name="T60" fmla="*/ 549 w 1098"/>
                  <a:gd name="T61" fmla="*/ 607 h 1446"/>
                  <a:gd name="T62" fmla="*/ 420 w 1098"/>
                  <a:gd name="T63" fmla="*/ 531 h 1446"/>
                  <a:gd name="T64" fmla="*/ 460 w 1098"/>
                  <a:gd name="T65" fmla="*/ 227 h 1446"/>
                  <a:gd name="T66" fmla="*/ 638 w 1098"/>
                  <a:gd name="T67" fmla="*/ 227 h 1446"/>
                  <a:gd name="T68" fmla="*/ 728 w 1098"/>
                  <a:gd name="T69" fmla="*/ 487 h 1446"/>
                  <a:gd name="T70" fmla="*/ 370 w 1098"/>
                  <a:gd name="T71" fmla="*/ 487 h 1446"/>
                  <a:gd name="T72" fmla="*/ 460 w 1098"/>
                  <a:gd name="T73" fmla="*/ 227 h 1446"/>
                  <a:gd name="T74" fmla="*/ 351 w 1098"/>
                  <a:gd name="T75" fmla="*/ 542 h 1446"/>
                  <a:gd name="T76" fmla="*/ 506 w 1098"/>
                  <a:gd name="T77" fmla="*/ 633 h 1446"/>
                  <a:gd name="T78" fmla="*/ 272 w 1098"/>
                  <a:gd name="T79" fmla="*/ 771 h 1446"/>
                  <a:gd name="T80" fmla="*/ 351 w 1098"/>
                  <a:gd name="T81" fmla="*/ 542 h 1446"/>
                  <a:gd name="T82" fmla="*/ 249 w 1098"/>
                  <a:gd name="T83" fmla="*/ 839 h 1446"/>
                  <a:gd name="T84" fmla="*/ 492 w 1098"/>
                  <a:gd name="T85" fmla="*/ 941 h 1446"/>
                  <a:gd name="T86" fmla="*/ 167 w 1098"/>
                  <a:gd name="T87" fmla="*/ 1078 h 1446"/>
                  <a:gd name="T88" fmla="*/ 249 w 1098"/>
                  <a:gd name="T89" fmla="*/ 839 h 1446"/>
                  <a:gd name="T90" fmla="*/ 239 w 1098"/>
                  <a:gd name="T91" fmla="*/ 1095 h 1446"/>
                  <a:gd name="T92" fmla="*/ 549 w 1098"/>
                  <a:gd name="T93" fmla="*/ 965 h 1446"/>
                  <a:gd name="T94" fmla="*/ 859 w 1098"/>
                  <a:gd name="T95" fmla="*/ 1095 h 1446"/>
                  <a:gd name="T96" fmla="*/ 239 w 1098"/>
                  <a:gd name="T97" fmla="*/ 1095 h 1446"/>
                  <a:gd name="T98" fmla="*/ 606 w 1098"/>
                  <a:gd name="T99" fmla="*/ 941 h 1446"/>
                  <a:gd name="T100" fmla="*/ 849 w 1098"/>
                  <a:gd name="T101" fmla="*/ 839 h 1446"/>
                  <a:gd name="T102" fmla="*/ 931 w 1098"/>
                  <a:gd name="T103" fmla="*/ 1078 h 1446"/>
                  <a:gd name="T104" fmla="*/ 606 w 1098"/>
                  <a:gd name="T105" fmla="*/ 941 h 1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1098" h="1446">
                    <a:moveTo>
                      <a:pt x="1094" y="1414"/>
                    </a:moveTo>
                    <a:cubicBezTo>
                      <a:pt x="607" y="0"/>
                      <a:pt x="607" y="0"/>
                      <a:pt x="607" y="0"/>
                    </a:cubicBezTo>
                    <a:cubicBezTo>
                      <a:pt x="594" y="7"/>
                      <a:pt x="580" y="12"/>
                      <a:pt x="565" y="14"/>
                    </a:cubicBezTo>
                    <a:cubicBezTo>
                      <a:pt x="623" y="183"/>
                      <a:pt x="623" y="183"/>
                      <a:pt x="623" y="183"/>
                    </a:cubicBezTo>
                    <a:cubicBezTo>
                      <a:pt x="475" y="183"/>
                      <a:pt x="475" y="183"/>
                      <a:pt x="475" y="183"/>
                    </a:cubicBezTo>
                    <a:cubicBezTo>
                      <a:pt x="533" y="14"/>
                      <a:pt x="533" y="14"/>
                      <a:pt x="533" y="14"/>
                    </a:cubicBezTo>
                    <a:cubicBezTo>
                      <a:pt x="518" y="12"/>
                      <a:pt x="504" y="7"/>
                      <a:pt x="491" y="0"/>
                    </a:cubicBezTo>
                    <a:cubicBezTo>
                      <a:pt x="4" y="1414"/>
                      <a:pt x="4" y="1414"/>
                      <a:pt x="4" y="1414"/>
                    </a:cubicBezTo>
                    <a:cubicBezTo>
                      <a:pt x="0" y="1426"/>
                      <a:pt x="6" y="1438"/>
                      <a:pt x="18" y="1442"/>
                    </a:cubicBezTo>
                    <a:cubicBezTo>
                      <a:pt x="29" y="1446"/>
                      <a:pt x="42" y="1440"/>
                      <a:pt x="46" y="1429"/>
                    </a:cubicBezTo>
                    <a:cubicBezTo>
                      <a:pt x="145" y="1139"/>
                      <a:pt x="145" y="1139"/>
                      <a:pt x="145" y="1139"/>
                    </a:cubicBezTo>
                    <a:cubicBezTo>
                      <a:pt x="953" y="1139"/>
                      <a:pt x="953" y="1139"/>
                      <a:pt x="953" y="1139"/>
                    </a:cubicBezTo>
                    <a:cubicBezTo>
                      <a:pt x="1052" y="1429"/>
                      <a:pt x="1052" y="1429"/>
                      <a:pt x="1052" y="1429"/>
                    </a:cubicBezTo>
                    <a:cubicBezTo>
                      <a:pt x="1055" y="1438"/>
                      <a:pt x="1064" y="1443"/>
                      <a:pt x="1073" y="1443"/>
                    </a:cubicBezTo>
                    <a:cubicBezTo>
                      <a:pt x="1075" y="1443"/>
                      <a:pt x="1078" y="1443"/>
                      <a:pt x="1080" y="1442"/>
                    </a:cubicBezTo>
                    <a:cubicBezTo>
                      <a:pt x="1092" y="1438"/>
                      <a:pt x="1098" y="1426"/>
                      <a:pt x="1094" y="1414"/>
                    </a:cubicBezTo>
                    <a:close/>
                    <a:moveTo>
                      <a:pt x="826" y="771"/>
                    </a:moveTo>
                    <a:cubicBezTo>
                      <a:pt x="592" y="633"/>
                      <a:pt x="592" y="633"/>
                      <a:pt x="592" y="633"/>
                    </a:cubicBezTo>
                    <a:cubicBezTo>
                      <a:pt x="747" y="542"/>
                      <a:pt x="747" y="542"/>
                      <a:pt x="747" y="542"/>
                    </a:cubicBezTo>
                    <a:lnTo>
                      <a:pt x="826" y="771"/>
                    </a:lnTo>
                    <a:close/>
                    <a:moveTo>
                      <a:pt x="324" y="791"/>
                    </a:moveTo>
                    <a:cubicBezTo>
                      <a:pt x="549" y="658"/>
                      <a:pt x="549" y="658"/>
                      <a:pt x="549" y="658"/>
                    </a:cubicBezTo>
                    <a:cubicBezTo>
                      <a:pt x="774" y="791"/>
                      <a:pt x="774" y="791"/>
                      <a:pt x="774" y="791"/>
                    </a:cubicBezTo>
                    <a:lnTo>
                      <a:pt x="324" y="791"/>
                    </a:lnTo>
                    <a:close/>
                    <a:moveTo>
                      <a:pt x="745" y="835"/>
                    </a:moveTo>
                    <a:cubicBezTo>
                      <a:pt x="549" y="917"/>
                      <a:pt x="549" y="917"/>
                      <a:pt x="549" y="917"/>
                    </a:cubicBezTo>
                    <a:cubicBezTo>
                      <a:pt x="353" y="835"/>
                      <a:pt x="353" y="835"/>
                      <a:pt x="353" y="835"/>
                    </a:cubicBezTo>
                    <a:lnTo>
                      <a:pt x="745" y="835"/>
                    </a:lnTo>
                    <a:close/>
                    <a:moveTo>
                      <a:pt x="420" y="531"/>
                    </a:moveTo>
                    <a:cubicBezTo>
                      <a:pt x="678" y="531"/>
                      <a:pt x="678" y="531"/>
                      <a:pt x="678" y="531"/>
                    </a:cubicBezTo>
                    <a:cubicBezTo>
                      <a:pt x="549" y="607"/>
                      <a:pt x="549" y="607"/>
                      <a:pt x="549" y="607"/>
                    </a:cubicBezTo>
                    <a:lnTo>
                      <a:pt x="420" y="531"/>
                    </a:lnTo>
                    <a:close/>
                    <a:moveTo>
                      <a:pt x="460" y="227"/>
                    </a:moveTo>
                    <a:cubicBezTo>
                      <a:pt x="638" y="227"/>
                      <a:pt x="638" y="227"/>
                      <a:pt x="638" y="227"/>
                    </a:cubicBezTo>
                    <a:cubicBezTo>
                      <a:pt x="728" y="487"/>
                      <a:pt x="728" y="487"/>
                      <a:pt x="728" y="487"/>
                    </a:cubicBezTo>
                    <a:cubicBezTo>
                      <a:pt x="370" y="487"/>
                      <a:pt x="370" y="487"/>
                      <a:pt x="370" y="487"/>
                    </a:cubicBezTo>
                    <a:lnTo>
                      <a:pt x="460" y="227"/>
                    </a:lnTo>
                    <a:close/>
                    <a:moveTo>
                      <a:pt x="351" y="542"/>
                    </a:moveTo>
                    <a:cubicBezTo>
                      <a:pt x="506" y="633"/>
                      <a:pt x="506" y="633"/>
                      <a:pt x="506" y="633"/>
                    </a:cubicBezTo>
                    <a:cubicBezTo>
                      <a:pt x="272" y="771"/>
                      <a:pt x="272" y="771"/>
                      <a:pt x="272" y="771"/>
                    </a:cubicBezTo>
                    <a:lnTo>
                      <a:pt x="351" y="542"/>
                    </a:lnTo>
                    <a:close/>
                    <a:moveTo>
                      <a:pt x="249" y="839"/>
                    </a:moveTo>
                    <a:cubicBezTo>
                      <a:pt x="492" y="941"/>
                      <a:pt x="492" y="941"/>
                      <a:pt x="492" y="941"/>
                    </a:cubicBezTo>
                    <a:cubicBezTo>
                      <a:pt x="167" y="1078"/>
                      <a:pt x="167" y="1078"/>
                      <a:pt x="167" y="1078"/>
                    </a:cubicBezTo>
                    <a:lnTo>
                      <a:pt x="249" y="839"/>
                    </a:lnTo>
                    <a:close/>
                    <a:moveTo>
                      <a:pt x="239" y="1095"/>
                    </a:moveTo>
                    <a:cubicBezTo>
                      <a:pt x="549" y="965"/>
                      <a:pt x="549" y="965"/>
                      <a:pt x="549" y="965"/>
                    </a:cubicBezTo>
                    <a:cubicBezTo>
                      <a:pt x="859" y="1095"/>
                      <a:pt x="859" y="1095"/>
                      <a:pt x="859" y="1095"/>
                    </a:cubicBezTo>
                    <a:lnTo>
                      <a:pt x="239" y="1095"/>
                    </a:lnTo>
                    <a:close/>
                    <a:moveTo>
                      <a:pt x="606" y="941"/>
                    </a:moveTo>
                    <a:cubicBezTo>
                      <a:pt x="849" y="839"/>
                      <a:pt x="849" y="839"/>
                      <a:pt x="849" y="839"/>
                    </a:cubicBezTo>
                    <a:cubicBezTo>
                      <a:pt x="931" y="1078"/>
                      <a:pt x="931" y="1078"/>
                      <a:pt x="931" y="1078"/>
                    </a:cubicBezTo>
                    <a:lnTo>
                      <a:pt x="606" y="941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23" name="Freeform 21">
                <a:extLst>
                  <a:ext uri="{FF2B5EF4-FFF2-40B4-BE49-F238E27FC236}">
                    <a16:creationId xmlns:a16="http://schemas.microsoft.com/office/drawing/2014/main" xmlns="" id="{9DB4C03F-11C1-4DBF-882E-44420328E5E8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250" y="412"/>
                <a:ext cx="1180" cy="1022"/>
              </a:xfrm>
              <a:custGeom>
                <a:avLst/>
                <a:gdLst>
                  <a:gd name="T0" fmla="*/ 315 w 630"/>
                  <a:gd name="T1" fmla="*/ 235 h 545"/>
                  <a:gd name="T2" fmla="*/ 392 w 630"/>
                  <a:gd name="T3" fmla="*/ 312 h 545"/>
                  <a:gd name="T4" fmla="*/ 315 w 630"/>
                  <a:gd name="T5" fmla="*/ 390 h 545"/>
                  <a:gd name="T6" fmla="*/ 238 w 630"/>
                  <a:gd name="T7" fmla="*/ 312 h 545"/>
                  <a:gd name="T8" fmla="*/ 315 w 630"/>
                  <a:gd name="T9" fmla="*/ 235 h 545"/>
                  <a:gd name="T10" fmla="*/ 456 w 630"/>
                  <a:gd name="T11" fmla="*/ 428 h 545"/>
                  <a:gd name="T12" fmla="*/ 497 w 630"/>
                  <a:gd name="T13" fmla="*/ 312 h 545"/>
                  <a:gd name="T14" fmla="*/ 315 w 630"/>
                  <a:gd name="T15" fmla="*/ 130 h 545"/>
                  <a:gd name="T16" fmla="*/ 133 w 630"/>
                  <a:gd name="T17" fmla="*/ 312 h 545"/>
                  <a:gd name="T18" fmla="*/ 174 w 630"/>
                  <a:gd name="T19" fmla="*/ 428 h 545"/>
                  <a:gd name="T20" fmla="*/ 205 w 630"/>
                  <a:gd name="T21" fmla="*/ 431 h 545"/>
                  <a:gd name="T22" fmla="*/ 208 w 630"/>
                  <a:gd name="T23" fmla="*/ 400 h 545"/>
                  <a:gd name="T24" fmla="*/ 177 w 630"/>
                  <a:gd name="T25" fmla="*/ 312 h 545"/>
                  <a:gd name="T26" fmla="*/ 315 w 630"/>
                  <a:gd name="T27" fmla="*/ 174 h 545"/>
                  <a:gd name="T28" fmla="*/ 453 w 630"/>
                  <a:gd name="T29" fmla="*/ 312 h 545"/>
                  <a:gd name="T30" fmla="*/ 422 w 630"/>
                  <a:gd name="T31" fmla="*/ 400 h 545"/>
                  <a:gd name="T32" fmla="*/ 425 w 630"/>
                  <a:gd name="T33" fmla="*/ 431 h 545"/>
                  <a:gd name="T34" fmla="*/ 439 w 630"/>
                  <a:gd name="T35" fmla="*/ 436 h 545"/>
                  <a:gd name="T36" fmla="*/ 456 w 630"/>
                  <a:gd name="T37" fmla="*/ 428 h 545"/>
                  <a:gd name="T38" fmla="*/ 538 w 630"/>
                  <a:gd name="T39" fmla="*/ 538 h 545"/>
                  <a:gd name="T40" fmla="*/ 630 w 630"/>
                  <a:gd name="T41" fmla="*/ 315 h 545"/>
                  <a:gd name="T42" fmla="*/ 315 w 630"/>
                  <a:gd name="T43" fmla="*/ 0 h 545"/>
                  <a:gd name="T44" fmla="*/ 0 w 630"/>
                  <a:gd name="T45" fmla="*/ 315 h 545"/>
                  <a:gd name="T46" fmla="*/ 90 w 630"/>
                  <a:gd name="T47" fmla="*/ 536 h 545"/>
                  <a:gd name="T48" fmla="*/ 121 w 630"/>
                  <a:gd name="T49" fmla="*/ 536 h 545"/>
                  <a:gd name="T50" fmla="*/ 121 w 630"/>
                  <a:gd name="T51" fmla="*/ 505 h 545"/>
                  <a:gd name="T52" fmla="*/ 44 w 630"/>
                  <a:gd name="T53" fmla="*/ 315 h 545"/>
                  <a:gd name="T54" fmla="*/ 315 w 630"/>
                  <a:gd name="T55" fmla="*/ 44 h 545"/>
                  <a:gd name="T56" fmla="*/ 586 w 630"/>
                  <a:gd name="T57" fmla="*/ 315 h 545"/>
                  <a:gd name="T58" fmla="*/ 507 w 630"/>
                  <a:gd name="T59" fmla="*/ 507 h 545"/>
                  <a:gd name="T60" fmla="*/ 507 w 630"/>
                  <a:gd name="T61" fmla="*/ 538 h 545"/>
                  <a:gd name="T62" fmla="*/ 522 w 630"/>
                  <a:gd name="T63" fmla="*/ 544 h 545"/>
                  <a:gd name="T64" fmla="*/ 538 w 630"/>
                  <a:gd name="T65" fmla="*/ 538 h 5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630" h="545">
                    <a:moveTo>
                      <a:pt x="315" y="235"/>
                    </a:moveTo>
                    <a:cubicBezTo>
                      <a:pt x="358" y="235"/>
                      <a:pt x="392" y="270"/>
                      <a:pt x="392" y="312"/>
                    </a:cubicBezTo>
                    <a:cubicBezTo>
                      <a:pt x="392" y="355"/>
                      <a:pt x="358" y="390"/>
                      <a:pt x="315" y="390"/>
                    </a:cubicBezTo>
                    <a:cubicBezTo>
                      <a:pt x="272" y="390"/>
                      <a:pt x="238" y="355"/>
                      <a:pt x="238" y="312"/>
                    </a:cubicBezTo>
                    <a:cubicBezTo>
                      <a:pt x="238" y="270"/>
                      <a:pt x="272" y="235"/>
                      <a:pt x="315" y="235"/>
                    </a:cubicBezTo>
                    <a:moveTo>
                      <a:pt x="456" y="428"/>
                    </a:moveTo>
                    <a:cubicBezTo>
                      <a:pt x="483" y="395"/>
                      <a:pt x="497" y="354"/>
                      <a:pt x="497" y="312"/>
                    </a:cubicBezTo>
                    <a:cubicBezTo>
                      <a:pt x="497" y="212"/>
                      <a:pt x="416" y="130"/>
                      <a:pt x="315" y="130"/>
                    </a:cubicBezTo>
                    <a:cubicBezTo>
                      <a:pt x="214" y="130"/>
                      <a:pt x="133" y="212"/>
                      <a:pt x="133" y="312"/>
                    </a:cubicBezTo>
                    <a:cubicBezTo>
                      <a:pt x="133" y="354"/>
                      <a:pt x="147" y="395"/>
                      <a:pt x="174" y="428"/>
                    </a:cubicBezTo>
                    <a:cubicBezTo>
                      <a:pt x="182" y="437"/>
                      <a:pt x="195" y="439"/>
                      <a:pt x="205" y="431"/>
                    </a:cubicBezTo>
                    <a:cubicBezTo>
                      <a:pt x="214" y="423"/>
                      <a:pt x="216" y="409"/>
                      <a:pt x="208" y="400"/>
                    </a:cubicBezTo>
                    <a:cubicBezTo>
                      <a:pt x="188" y="375"/>
                      <a:pt x="177" y="344"/>
                      <a:pt x="177" y="312"/>
                    </a:cubicBezTo>
                    <a:cubicBezTo>
                      <a:pt x="177" y="236"/>
                      <a:pt x="239" y="174"/>
                      <a:pt x="315" y="174"/>
                    </a:cubicBezTo>
                    <a:cubicBezTo>
                      <a:pt x="391" y="174"/>
                      <a:pt x="453" y="236"/>
                      <a:pt x="453" y="312"/>
                    </a:cubicBezTo>
                    <a:cubicBezTo>
                      <a:pt x="453" y="344"/>
                      <a:pt x="442" y="375"/>
                      <a:pt x="422" y="400"/>
                    </a:cubicBezTo>
                    <a:cubicBezTo>
                      <a:pt x="414" y="409"/>
                      <a:pt x="416" y="423"/>
                      <a:pt x="425" y="431"/>
                    </a:cubicBezTo>
                    <a:cubicBezTo>
                      <a:pt x="429" y="434"/>
                      <a:pt x="434" y="436"/>
                      <a:pt x="439" y="436"/>
                    </a:cubicBezTo>
                    <a:cubicBezTo>
                      <a:pt x="445" y="436"/>
                      <a:pt x="452" y="433"/>
                      <a:pt x="456" y="428"/>
                    </a:cubicBezTo>
                    <a:close/>
                    <a:moveTo>
                      <a:pt x="538" y="538"/>
                    </a:moveTo>
                    <a:cubicBezTo>
                      <a:pt x="598" y="478"/>
                      <a:pt x="630" y="399"/>
                      <a:pt x="630" y="315"/>
                    </a:cubicBezTo>
                    <a:cubicBezTo>
                      <a:pt x="630" y="141"/>
                      <a:pt x="489" y="0"/>
                      <a:pt x="315" y="0"/>
                    </a:cubicBezTo>
                    <a:cubicBezTo>
                      <a:pt x="141" y="0"/>
                      <a:pt x="0" y="141"/>
                      <a:pt x="0" y="315"/>
                    </a:cubicBezTo>
                    <a:cubicBezTo>
                      <a:pt x="0" y="398"/>
                      <a:pt x="32" y="477"/>
                      <a:pt x="90" y="536"/>
                    </a:cubicBezTo>
                    <a:cubicBezTo>
                      <a:pt x="99" y="545"/>
                      <a:pt x="113" y="545"/>
                      <a:pt x="121" y="536"/>
                    </a:cubicBezTo>
                    <a:cubicBezTo>
                      <a:pt x="130" y="528"/>
                      <a:pt x="130" y="514"/>
                      <a:pt x="121" y="505"/>
                    </a:cubicBezTo>
                    <a:cubicBezTo>
                      <a:pt x="71" y="454"/>
                      <a:pt x="44" y="386"/>
                      <a:pt x="44" y="315"/>
                    </a:cubicBezTo>
                    <a:cubicBezTo>
                      <a:pt x="44" y="165"/>
                      <a:pt x="165" y="44"/>
                      <a:pt x="315" y="44"/>
                    </a:cubicBezTo>
                    <a:cubicBezTo>
                      <a:pt x="465" y="44"/>
                      <a:pt x="586" y="165"/>
                      <a:pt x="586" y="315"/>
                    </a:cubicBezTo>
                    <a:cubicBezTo>
                      <a:pt x="586" y="387"/>
                      <a:pt x="558" y="455"/>
                      <a:pt x="507" y="507"/>
                    </a:cubicBezTo>
                    <a:cubicBezTo>
                      <a:pt x="498" y="515"/>
                      <a:pt x="498" y="529"/>
                      <a:pt x="507" y="538"/>
                    </a:cubicBezTo>
                    <a:cubicBezTo>
                      <a:pt x="511" y="542"/>
                      <a:pt x="517" y="544"/>
                      <a:pt x="522" y="544"/>
                    </a:cubicBezTo>
                    <a:cubicBezTo>
                      <a:pt x="528" y="544"/>
                      <a:pt x="534" y="542"/>
                      <a:pt x="538" y="538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</p:grpSp>
      </p:grpSp>
      <p:grpSp>
        <p:nvGrpSpPr>
          <p:cNvPr id="5" name="Group 4"/>
          <p:cNvGrpSpPr/>
          <p:nvPr/>
        </p:nvGrpSpPr>
        <p:grpSpPr>
          <a:xfrm>
            <a:off x="1796726" y="3009813"/>
            <a:ext cx="933369" cy="1207528"/>
            <a:chOff x="2305446" y="4011844"/>
            <a:chExt cx="1244492" cy="1609541"/>
          </a:xfrm>
        </p:grpSpPr>
        <p:sp>
          <p:nvSpPr>
            <p:cNvPr id="10" name="Rectangle 9"/>
            <p:cNvSpPr/>
            <p:nvPr/>
          </p:nvSpPr>
          <p:spPr>
            <a:xfrm>
              <a:off x="2391627" y="4011844"/>
              <a:ext cx="1072129" cy="1609541"/>
            </a:xfrm>
            <a:prstGeom prst="rect">
              <a:avLst/>
            </a:prstGeom>
            <a:noFill/>
            <a:ln w="9525" cap="rnd" cmpd="sng" algn="ctr">
              <a:solidFill>
                <a:srgbClr val="9A9A9A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0" tIns="45720" rIns="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750"/>
                </a:spcAft>
              </a:pPr>
              <a:endParaRPr lang="ru-RU" sz="900" dirty="0" err="1">
                <a:solidFill>
                  <a:srgbClr val="FFFFFF"/>
                </a:solidFill>
              </a:endParaRPr>
            </a:p>
          </p:txBody>
        </p:sp>
        <p:sp>
          <p:nvSpPr>
            <p:cNvPr id="15" name="Rectangle 14"/>
            <p:cNvSpPr/>
            <p:nvPr/>
          </p:nvSpPr>
          <p:spPr>
            <a:xfrm>
              <a:off x="2305446" y="4826317"/>
              <a:ext cx="1244492" cy="621516"/>
            </a:xfrm>
            <a:prstGeom prst="rect">
              <a:avLst/>
            </a:prstGeom>
          </p:spPr>
          <p:txBody>
            <a:bodyPr wrap="square" lIns="0" rIns="0" anchor="ctr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750"/>
                </a:spcAft>
              </a:pPr>
              <a:r>
                <a:rPr lang="ru-RU" sz="900" dirty="0">
                  <a:solidFill>
                    <a:srgbClr val="575757"/>
                  </a:solidFill>
                </a:rPr>
                <a:t>ФЗ 149 </a:t>
              </a:r>
              <a:r>
                <a:rPr lang="en-US" sz="900" dirty="0">
                  <a:solidFill>
                    <a:srgbClr val="575757"/>
                  </a:solidFill>
                </a:rPr>
                <a:t/>
              </a:r>
              <a:br>
                <a:rPr lang="en-US" sz="900" dirty="0">
                  <a:solidFill>
                    <a:srgbClr val="575757"/>
                  </a:solidFill>
                </a:rPr>
              </a:br>
              <a:r>
                <a:rPr lang="en-US" sz="900" dirty="0">
                  <a:solidFill>
                    <a:srgbClr val="575757"/>
                  </a:solidFill>
                </a:rPr>
                <a:t>“</a:t>
              </a:r>
              <a:r>
                <a:rPr lang="ru-RU" sz="900" dirty="0">
                  <a:solidFill>
                    <a:srgbClr val="575757"/>
                  </a:solidFill>
                </a:rPr>
                <a:t>Об </a:t>
              </a:r>
              <a:r>
                <a:rPr lang="ru-RU" sz="900" dirty="0" smtClean="0">
                  <a:solidFill>
                    <a:srgbClr val="575757"/>
                  </a:solidFill>
                </a:rPr>
                <a:t>информации</a:t>
              </a:r>
              <a:r>
                <a:rPr lang="en-US" sz="900" dirty="0">
                  <a:solidFill>
                    <a:srgbClr val="575757"/>
                  </a:solidFill>
                </a:rPr>
                <a:t>”</a:t>
              </a:r>
              <a:r>
                <a:rPr lang="en-US" sz="900" baseline="30000" dirty="0">
                  <a:solidFill>
                    <a:srgbClr val="575757"/>
                  </a:solidFill>
                </a:rPr>
                <a:t>2</a:t>
              </a:r>
              <a:r>
                <a:rPr lang="en-US" sz="900" dirty="0">
                  <a:solidFill>
                    <a:srgbClr val="575757"/>
                  </a:solidFill>
                </a:rPr>
                <a:t> </a:t>
              </a:r>
              <a:endParaRPr lang="ru-RU" sz="900" dirty="0">
                <a:solidFill>
                  <a:srgbClr val="575757"/>
                </a:solidFill>
              </a:endParaRPr>
            </a:p>
          </p:txBody>
        </p:sp>
        <p:grpSp>
          <p:nvGrpSpPr>
            <p:cNvPr id="24" name="bcgIcons_Database">
              <a:extLst>
                <a:ext uri="{FF2B5EF4-FFF2-40B4-BE49-F238E27FC236}">
                  <a16:creationId xmlns:a16="http://schemas.microsoft.com/office/drawing/2014/main" xmlns="" id="{B07695DE-CFF9-4DF5-8055-66109360DC07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2657941" y="4096509"/>
              <a:ext cx="539501" cy="540000"/>
              <a:chOff x="1682" y="0"/>
              <a:chExt cx="4316" cy="4320"/>
            </a:xfrm>
          </p:grpSpPr>
          <p:sp>
            <p:nvSpPr>
              <p:cNvPr id="25" name="AutoShape 8">
                <a:extLst>
                  <a:ext uri="{FF2B5EF4-FFF2-40B4-BE49-F238E27FC236}">
                    <a16:creationId xmlns:a16="http://schemas.microsoft.com/office/drawing/2014/main" xmlns="" id="{02721696-1144-4D0C-BA89-E216B7A3A75F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26" name="Freeform 10">
                <a:extLst>
                  <a:ext uri="{FF2B5EF4-FFF2-40B4-BE49-F238E27FC236}">
                    <a16:creationId xmlns:a16="http://schemas.microsoft.com/office/drawing/2014/main" xmlns="" id="{5AF1724F-9721-4642-B003-AF1EEBD7C81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62" y="1448"/>
                <a:ext cx="2351" cy="2021"/>
              </a:xfrm>
              <a:custGeom>
                <a:avLst/>
                <a:gdLst>
                  <a:gd name="T0" fmla="*/ 628 w 1255"/>
                  <a:gd name="T1" fmla="*/ 210 h 1078"/>
                  <a:gd name="T2" fmla="*/ 1255 w 1255"/>
                  <a:gd name="T3" fmla="*/ 0 h 1078"/>
                  <a:gd name="T4" fmla="*/ 1255 w 1255"/>
                  <a:gd name="T5" fmla="*/ 239 h 1078"/>
                  <a:gd name="T6" fmla="*/ 628 w 1255"/>
                  <a:gd name="T7" fmla="*/ 450 h 1078"/>
                  <a:gd name="T8" fmla="*/ 0 w 1255"/>
                  <a:gd name="T9" fmla="*/ 239 h 1078"/>
                  <a:gd name="T10" fmla="*/ 0 w 1255"/>
                  <a:gd name="T11" fmla="*/ 0 h 1078"/>
                  <a:gd name="T12" fmla="*/ 628 w 1255"/>
                  <a:gd name="T13" fmla="*/ 210 h 1078"/>
                  <a:gd name="T14" fmla="*/ 628 w 1255"/>
                  <a:gd name="T15" fmla="*/ 524 h 1078"/>
                  <a:gd name="T16" fmla="*/ 0 w 1255"/>
                  <a:gd name="T17" fmla="*/ 308 h 1078"/>
                  <a:gd name="T18" fmla="*/ 0 w 1255"/>
                  <a:gd name="T19" fmla="*/ 553 h 1078"/>
                  <a:gd name="T20" fmla="*/ 628 w 1255"/>
                  <a:gd name="T21" fmla="*/ 770 h 1078"/>
                  <a:gd name="T22" fmla="*/ 1255 w 1255"/>
                  <a:gd name="T23" fmla="*/ 553 h 1078"/>
                  <a:gd name="T24" fmla="*/ 1255 w 1255"/>
                  <a:gd name="T25" fmla="*/ 308 h 1078"/>
                  <a:gd name="T26" fmla="*/ 628 w 1255"/>
                  <a:gd name="T27" fmla="*/ 524 h 1078"/>
                  <a:gd name="T28" fmla="*/ 628 w 1255"/>
                  <a:gd name="T29" fmla="*/ 838 h 1078"/>
                  <a:gd name="T30" fmla="*/ 0 w 1255"/>
                  <a:gd name="T31" fmla="*/ 628 h 1078"/>
                  <a:gd name="T32" fmla="*/ 0 w 1255"/>
                  <a:gd name="T33" fmla="*/ 867 h 1078"/>
                  <a:gd name="T34" fmla="*/ 628 w 1255"/>
                  <a:gd name="T35" fmla="*/ 1078 h 1078"/>
                  <a:gd name="T36" fmla="*/ 1255 w 1255"/>
                  <a:gd name="T37" fmla="*/ 867 h 1078"/>
                  <a:gd name="T38" fmla="*/ 1255 w 1255"/>
                  <a:gd name="T39" fmla="*/ 628 h 1078"/>
                  <a:gd name="T40" fmla="*/ 628 w 1255"/>
                  <a:gd name="T41" fmla="*/ 838 h 107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1255" h="1078">
                    <a:moveTo>
                      <a:pt x="628" y="210"/>
                    </a:moveTo>
                    <a:cubicBezTo>
                      <a:pt x="974" y="210"/>
                      <a:pt x="1255" y="125"/>
                      <a:pt x="1255" y="0"/>
                    </a:cubicBezTo>
                    <a:cubicBezTo>
                      <a:pt x="1255" y="23"/>
                      <a:pt x="1255" y="216"/>
                      <a:pt x="1255" y="239"/>
                    </a:cubicBezTo>
                    <a:cubicBezTo>
                      <a:pt x="1255" y="365"/>
                      <a:pt x="974" y="450"/>
                      <a:pt x="628" y="450"/>
                    </a:cubicBezTo>
                    <a:cubicBezTo>
                      <a:pt x="281" y="450"/>
                      <a:pt x="0" y="365"/>
                      <a:pt x="0" y="239"/>
                    </a:cubicBezTo>
                    <a:cubicBezTo>
                      <a:pt x="0" y="216"/>
                      <a:pt x="0" y="23"/>
                      <a:pt x="0" y="0"/>
                    </a:cubicBezTo>
                    <a:cubicBezTo>
                      <a:pt x="0" y="125"/>
                      <a:pt x="281" y="210"/>
                      <a:pt x="628" y="210"/>
                    </a:cubicBezTo>
                    <a:close/>
                    <a:moveTo>
                      <a:pt x="628" y="524"/>
                    </a:moveTo>
                    <a:cubicBezTo>
                      <a:pt x="281" y="524"/>
                      <a:pt x="0" y="436"/>
                      <a:pt x="0" y="308"/>
                    </a:cubicBezTo>
                    <a:cubicBezTo>
                      <a:pt x="0" y="332"/>
                      <a:pt x="0" y="529"/>
                      <a:pt x="0" y="553"/>
                    </a:cubicBezTo>
                    <a:cubicBezTo>
                      <a:pt x="0" y="682"/>
                      <a:pt x="281" y="770"/>
                      <a:pt x="628" y="770"/>
                    </a:cubicBezTo>
                    <a:cubicBezTo>
                      <a:pt x="974" y="770"/>
                      <a:pt x="1255" y="682"/>
                      <a:pt x="1255" y="553"/>
                    </a:cubicBezTo>
                    <a:cubicBezTo>
                      <a:pt x="1255" y="529"/>
                      <a:pt x="1255" y="332"/>
                      <a:pt x="1255" y="308"/>
                    </a:cubicBezTo>
                    <a:cubicBezTo>
                      <a:pt x="1255" y="436"/>
                      <a:pt x="974" y="524"/>
                      <a:pt x="628" y="524"/>
                    </a:cubicBezTo>
                    <a:close/>
                    <a:moveTo>
                      <a:pt x="628" y="838"/>
                    </a:moveTo>
                    <a:cubicBezTo>
                      <a:pt x="281" y="838"/>
                      <a:pt x="0" y="752"/>
                      <a:pt x="0" y="628"/>
                    </a:cubicBezTo>
                    <a:cubicBezTo>
                      <a:pt x="0" y="651"/>
                      <a:pt x="0" y="844"/>
                      <a:pt x="0" y="867"/>
                    </a:cubicBezTo>
                    <a:cubicBezTo>
                      <a:pt x="0" y="992"/>
                      <a:pt x="281" y="1078"/>
                      <a:pt x="628" y="1078"/>
                    </a:cubicBezTo>
                    <a:cubicBezTo>
                      <a:pt x="974" y="1078"/>
                      <a:pt x="1255" y="992"/>
                      <a:pt x="1255" y="867"/>
                    </a:cubicBezTo>
                    <a:cubicBezTo>
                      <a:pt x="1255" y="844"/>
                      <a:pt x="1255" y="651"/>
                      <a:pt x="1255" y="628"/>
                    </a:cubicBezTo>
                    <a:cubicBezTo>
                      <a:pt x="1255" y="752"/>
                      <a:pt x="974" y="838"/>
                      <a:pt x="628" y="838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27" name="Freeform 11">
                <a:extLst>
                  <a:ext uri="{FF2B5EF4-FFF2-40B4-BE49-F238E27FC236}">
                    <a16:creationId xmlns:a16="http://schemas.microsoft.com/office/drawing/2014/main" xmlns="" id="{AC19C5AD-70F4-45DE-9BCE-E2697316F0B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07" y="559"/>
                <a:ext cx="2862" cy="3202"/>
              </a:xfrm>
              <a:custGeom>
                <a:avLst/>
                <a:gdLst>
                  <a:gd name="T0" fmla="*/ 136 w 1528"/>
                  <a:gd name="T1" fmla="*/ 385 h 1708"/>
                  <a:gd name="T2" fmla="*/ 764 w 1528"/>
                  <a:gd name="T3" fmla="*/ 154 h 1708"/>
                  <a:gd name="T4" fmla="*/ 1391 w 1528"/>
                  <a:gd name="T5" fmla="*/ 385 h 1708"/>
                  <a:gd name="T6" fmla="*/ 764 w 1528"/>
                  <a:gd name="T7" fmla="*/ 616 h 1708"/>
                  <a:gd name="T8" fmla="*/ 136 w 1528"/>
                  <a:gd name="T9" fmla="*/ 385 h 1708"/>
                  <a:gd name="T10" fmla="*/ 1528 w 1528"/>
                  <a:gd name="T11" fmla="*/ 1382 h 1708"/>
                  <a:gd name="T12" fmla="*/ 1528 w 1528"/>
                  <a:gd name="T13" fmla="*/ 310 h 1708"/>
                  <a:gd name="T14" fmla="*/ 1526 w 1528"/>
                  <a:gd name="T15" fmla="*/ 300 h 1708"/>
                  <a:gd name="T16" fmla="*/ 1284 w 1528"/>
                  <a:gd name="T17" fmla="*/ 85 h 1708"/>
                  <a:gd name="T18" fmla="*/ 764 w 1528"/>
                  <a:gd name="T19" fmla="*/ 0 h 1708"/>
                  <a:gd name="T20" fmla="*/ 0 w 1528"/>
                  <a:gd name="T21" fmla="*/ 326 h 1708"/>
                  <a:gd name="T22" fmla="*/ 1 w 1528"/>
                  <a:gd name="T23" fmla="*/ 344 h 1708"/>
                  <a:gd name="T24" fmla="*/ 1 w 1528"/>
                  <a:gd name="T25" fmla="*/ 1364 h 1708"/>
                  <a:gd name="T26" fmla="*/ 0 w 1528"/>
                  <a:gd name="T27" fmla="*/ 1382 h 1708"/>
                  <a:gd name="T28" fmla="*/ 764 w 1528"/>
                  <a:gd name="T29" fmla="*/ 1708 h 1708"/>
                  <a:gd name="T30" fmla="*/ 1528 w 1528"/>
                  <a:gd name="T31" fmla="*/ 1382 h 1708"/>
                  <a:gd name="T32" fmla="*/ 1268 w 1528"/>
                  <a:gd name="T33" fmla="*/ 126 h 1708"/>
                  <a:gd name="T34" fmla="*/ 1483 w 1528"/>
                  <a:gd name="T35" fmla="*/ 313 h 1708"/>
                  <a:gd name="T36" fmla="*/ 1484 w 1528"/>
                  <a:gd name="T37" fmla="*/ 317 h 1708"/>
                  <a:gd name="T38" fmla="*/ 1484 w 1528"/>
                  <a:gd name="T39" fmla="*/ 1382 h 1708"/>
                  <a:gd name="T40" fmla="*/ 764 w 1528"/>
                  <a:gd name="T41" fmla="*/ 1664 h 1708"/>
                  <a:gd name="T42" fmla="*/ 44 w 1528"/>
                  <a:gd name="T43" fmla="*/ 1382 h 1708"/>
                  <a:gd name="T44" fmla="*/ 45 w 1528"/>
                  <a:gd name="T45" fmla="*/ 1369 h 1708"/>
                  <a:gd name="T46" fmla="*/ 45 w 1528"/>
                  <a:gd name="T47" fmla="*/ 1366 h 1708"/>
                  <a:gd name="T48" fmla="*/ 45 w 1528"/>
                  <a:gd name="T49" fmla="*/ 342 h 1708"/>
                  <a:gd name="T50" fmla="*/ 45 w 1528"/>
                  <a:gd name="T51" fmla="*/ 339 h 1708"/>
                  <a:gd name="T52" fmla="*/ 44 w 1528"/>
                  <a:gd name="T53" fmla="*/ 326 h 1708"/>
                  <a:gd name="T54" fmla="*/ 764 w 1528"/>
                  <a:gd name="T55" fmla="*/ 44 h 1708"/>
                  <a:gd name="T56" fmla="*/ 1268 w 1528"/>
                  <a:gd name="T57" fmla="*/ 126 h 17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1528" h="1708">
                    <a:moveTo>
                      <a:pt x="136" y="385"/>
                    </a:moveTo>
                    <a:cubicBezTo>
                      <a:pt x="136" y="257"/>
                      <a:pt x="417" y="154"/>
                      <a:pt x="764" y="154"/>
                    </a:cubicBezTo>
                    <a:cubicBezTo>
                      <a:pt x="1110" y="154"/>
                      <a:pt x="1391" y="257"/>
                      <a:pt x="1391" y="385"/>
                    </a:cubicBezTo>
                    <a:cubicBezTo>
                      <a:pt x="1391" y="512"/>
                      <a:pt x="1110" y="616"/>
                      <a:pt x="764" y="616"/>
                    </a:cubicBezTo>
                    <a:cubicBezTo>
                      <a:pt x="417" y="616"/>
                      <a:pt x="136" y="512"/>
                      <a:pt x="136" y="385"/>
                    </a:cubicBezTo>
                    <a:close/>
                    <a:moveTo>
                      <a:pt x="1528" y="1382"/>
                    </a:moveTo>
                    <a:cubicBezTo>
                      <a:pt x="1528" y="310"/>
                      <a:pt x="1528" y="310"/>
                      <a:pt x="1528" y="310"/>
                    </a:cubicBezTo>
                    <a:cubicBezTo>
                      <a:pt x="1528" y="306"/>
                      <a:pt x="1527" y="303"/>
                      <a:pt x="1526" y="300"/>
                    </a:cubicBezTo>
                    <a:cubicBezTo>
                      <a:pt x="1511" y="217"/>
                      <a:pt x="1426" y="141"/>
                      <a:pt x="1284" y="85"/>
                    </a:cubicBezTo>
                    <a:cubicBezTo>
                      <a:pt x="1143" y="30"/>
                      <a:pt x="958" y="0"/>
                      <a:pt x="764" y="0"/>
                    </a:cubicBezTo>
                    <a:cubicBezTo>
                      <a:pt x="335" y="0"/>
                      <a:pt x="0" y="143"/>
                      <a:pt x="0" y="326"/>
                    </a:cubicBezTo>
                    <a:cubicBezTo>
                      <a:pt x="0" y="332"/>
                      <a:pt x="0" y="338"/>
                      <a:pt x="1" y="344"/>
                    </a:cubicBezTo>
                    <a:cubicBezTo>
                      <a:pt x="1" y="1364"/>
                      <a:pt x="1" y="1364"/>
                      <a:pt x="1" y="1364"/>
                    </a:cubicBezTo>
                    <a:cubicBezTo>
                      <a:pt x="0" y="1370"/>
                      <a:pt x="0" y="1376"/>
                      <a:pt x="0" y="1382"/>
                    </a:cubicBezTo>
                    <a:cubicBezTo>
                      <a:pt x="0" y="1565"/>
                      <a:pt x="335" y="1708"/>
                      <a:pt x="764" y="1708"/>
                    </a:cubicBezTo>
                    <a:cubicBezTo>
                      <a:pt x="1193" y="1708"/>
                      <a:pt x="1528" y="1565"/>
                      <a:pt x="1528" y="1382"/>
                    </a:cubicBezTo>
                    <a:close/>
                    <a:moveTo>
                      <a:pt x="1268" y="126"/>
                    </a:moveTo>
                    <a:cubicBezTo>
                      <a:pt x="1396" y="176"/>
                      <a:pt x="1475" y="244"/>
                      <a:pt x="1483" y="313"/>
                    </a:cubicBezTo>
                    <a:cubicBezTo>
                      <a:pt x="1484" y="314"/>
                      <a:pt x="1484" y="315"/>
                      <a:pt x="1484" y="317"/>
                    </a:cubicBezTo>
                    <a:cubicBezTo>
                      <a:pt x="1484" y="1382"/>
                      <a:pt x="1484" y="1382"/>
                      <a:pt x="1484" y="1382"/>
                    </a:cubicBezTo>
                    <a:cubicBezTo>
                      <a:pt x="1484" y="1535"/>
                      <a:pt x="1154" y="1664"/>
                      <a:pt x="764" y="1664"/>
                    </a:cubicBezTo>
                    <a:cubicBezTo>
                      <a:pt x="374" y="1664"/>
                      <a:pt x="44" y="1535"/>
                      <a:pt x="44" y="1382"/>
                    </a:cubicBezTo>
                    <a:cubicBezTo>
                      <a:pt x="44" y="1378"/>
                      <a:pt x="44" y="1373"/>
                      <a:pt x="45" y="1369"/>
                    </a:cubicBezTo>
                    <a:cubicBezTo>
                      <a:pt x="45" y="1368"/>
                      <a:pt x="45" y="1367"/>
                      <a:pt x="45" y="1366"/>
                    </a:cubicBezTo>
                    <a:cubicBezTo>
                      <a:pt x="45" y="342"/>
                      <a:pt x="45" y="342"/>
                      <a:pt x="45" y="342"/>
                    </a:cubicBezTo>
                    <a:cubicBezTo>
                      <a:pt x="45" y="341"/>
                      <a:pt x="45" y="340"/>
                      <a:pt x="45" y="339"/>
                    </a:cubicBezTo>
                    <a:cubicBezTo>
                      <a:pt x="44" y="335"/>
                      <a:pt x="44" y="330"/>
                      <a:pt x="44" y="326"/>
                    </a:cubicBezTo>
                    <a:cubicBezTo>
                      <a:pt x="44" y="173"/>
                      <a:pt x="374" y="44"/>
                      <a:pt x="764" y="44"/>
                    </a:cubicBezTo>
                    <a:cubicBezTo>
                      <a:pt x="953" y="44"/>
                      <a:pt x="1132" y="73"/>
                      <a:pt x="1268" y="126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</p:grpSp>
      </p:grpSp>
      <p:grpSp>
        <p:nvGrpSpPr>
          <p:cNvPr id="6" name="Group 5"/>
          <p:cNvGrpSpPr/>
          <p:nvPr/>
        </p:nvGrpSpPr>
        <p:grpSpPr>
          <a:xfrm>
            <a:off x="2661774" y="3009813"/>
            <a:ext cx="945001" cy="1207528"/>
            <a:chOff x="3656768" y="4011844"/>
            <a:chExt cx="1260001" cy="1609541"/>
          </a:xfrm>
        </p:grpSpPr>
        <p:sp>
          <p:nvSpPr>
            <p:cNvPr id="11" name="Rectangle 10"/>
            <p:cNvSpPr/>
            <p:nvPr/>
          </p:nvSpPr>
          <p:spPr>
            <a:xfrm>
              <a:off x="3750704" y="4011844"/>
              <a:ext cx="1072129" cy="1609541"/>
            </a:xfrm>
            <a:prstGeom prst="rect">
              <a:avLst/>
            </a:prstGeom>
            <a:noFill/>
            <a:ln w="9525" cap="rnd" cmpd="sng" algn="ctr">
              <a:solidFill>
                <a:srgbClr val="9A9A9A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750"/>
                </a:spcAft>
              </a:pPr>
              <a:endParaRPr lang="ru-RU" sz="900" dirty="0" err="1">
                <a:solidFill>
                  <a:srgbClr val="FFFFFF"/>
                </a:solidFill>
              </a:endParaRPr>
            </a:p>
          </p:txBody>
        </p:sp>
        <p:sp>
          <p:nvSpPr>
            <p:cNvPr id="16" name="Rectangle 15"/>
            <p:cNvSpPr/>
            <p:nvPr/>
          </p:nvSpPr>
          <p:spPr>
            <a:xfrm>
              <a:off x="3656768" y="4887775"/>
              <a:ext cx="1260001" cy="498598"/>
            </a:xfrm>
            <a:prstGeom prst="rect">
              <a:avLst/>
            </a:prstGeom>
          </p:spPr>
          <p:txBody>
            <a:bodyPr wrap="square" lIns="0" tIns="0" rIns="0" bIns="0" anchor="ctr">
              <a:spAutoFit/>
            </a:bodyPr>
            <a:lstStyle/>
            <a:p>
              <a:pPr algn="ctr">
                <a:lnSpc>
                  <a:spcPct val="90000"/>
                </a:lnSpc>
                <a:spcAft>
                  <a:spcPts val="750"/>
                </a:spcAft>
              </a:pPr>
              <a:r>
                <a:rPr lang="ru-RU" sz="900" dirty="0">
                  <a:solidFill>
                    <a:srgbClr val="575757"/>
                  </a:solidFill>
                </a:rPr>
                <a:t>ФЗ 152 </a:t>
              </a:r>
              <a:r>
                <a:rPr lang="en-US" sz="900" dirty="0">
                  <a:solidFill>
                    <a:srgbClr val="575757"/>
                  </a:solidFill>
                </a:rPr>
                <a:t>“</a:t>
              </a:r>
              <a:r>
                <a:rPr lang="ru-RU" sz="900" dirty="0">
                  <a:solidFill>
                    <a:srgbClr val="575757"/>
                  </a:solidFill>
                </a:rPr>
                <a:t>О персональных </a:t>
              </a:r>
              <a:r>
                <a:rPr lang="en-US" sz="900" dirty="0">
                  <a:solidFill>
                    <a:srgbClr val="575757"/>
                  </a:solidFill>
                </a:rPr>
                <a:t/>
              </a:r>
              <a:br>
                <a:rPr lang="en-US" sz="900" dirty="0">
                  <a:solidFill>
                    <a:srgbClr val="575757"/>
                  </a:solidFill>
                </a:rPr>
              </a:br>
              <a:r>
                <a:rPr lang="ru-RU" sz="900" dirty="0">
                  <a:solidFill>
                    <a:srgbClr val="575757"/>
                  </a:solidFill>
                </a:rPr>
                <a:t>данных</a:t>
              </a:r>
              <a:r>
                <a:rPr lang="en-US" sz="900" dirty="0">
                  <a:solidFill>
                    <a:srgbClr val="575757"/>
                  </a:solidFill>
                </a:rPr>
                <a:t>”</a:t>
              </a:r>
              <a:r>
                <a:rPr lang="en-US" sz="900" baseline="30000" dirty="0">
                  <a:solidFill>
                    <a:srgbClr val="575757"/>
                  </a:solidFill>
                </a:rPr>
                <a:t>3</a:t>
              </a:r>
              <a:r>
                <a:rPr lang="en-US" sz="900" dirty="0">
                  <a:solidFill>
                    <a:srgbClr val="575757"/>
                  </a:solidFill>
                </a:rPr>
                <a:t> </a:t>
              </a:r>
              <a:endParaRPr lang="ru-RU" sz="900" dirty="0">
                <a:solidFill>
                  <a:srgbClr val="575757"/>
                </a:solidFill>
              </a:endParaRPr>
            </a:p>
          </p:txBody>
        </p:sp>
        <p:grpSp>
          <p:nvGrpSpPr>
            <p:cNvPr id="28" name="Group 14">
              <a:extLst>
                <a:ext uri="{FF2B5EF4-FFF2-40B4-BE49-F238E27FC236}">
                  <a16:creationId xmlns:a16="http://schemas.microsoft.com/office/drawing/2014/main" xmlns="" id="{8529C18D-11CE-4183-8572-BDD7727124F6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4017018" y="4096509"/>
              <a:ext cx="539500" cy="540000"/>
              <a:chOff x="1682" y="0"/>
              <a:chExt cx="4316" cy="4320"/>
            </a:xfrm>
          </p:grpSpPr>
          <p:sp>
            <p:nvSpPr>
              <p:cNvPr id="29" name="AutoShape 13">
                <a:extLst>
                  <a:ext uri="{FF2B5EF4-FFF2-40B4-BE49-F238E27FC236}">
                    <a16:creationId xmlns:a16="http://schemas.microsoft.com/office/drawing/2014/main" xmlns="" id="{B0F1C927-EFAD-4D20-B2C6-4960D1223761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30" name="Freeform 15">
                <a:extLst>
                  <a:ext uri="{FF2B5EF4-FFF2-40B4-BE49-F238E27FC236}">
                    <a16:creationId xmlns:a16="http://schemas.microsoft.com/office/drawing/2014/main" xmlns="" id="{9F430D46-7758-479C-9716-5E6CC6874B0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3010" y="564"/>
                <a:ext cx="1727" cy="3107"/>
              </a:xfrm>
              <a:custGeom>
                <a:avLst/>
                <a:gdLst>
                  <a:gd name="T0" fmla="*/ 890 w 922"/>
                  <a:gd name="T1" fmla="*/ 537 h 1657"/>
                  <a:gd name="T2" fmla="*/ 922 w 922"/>
                  <a:gd name="T3" fmla="*/ 635 h 1657"/>
                  <a:gd name="T4" fmla="*/ 786 w 922"/>
                  <a:gd name="T5" fmla="*/ 675 h 1657"/>
                  <a:gd name="T6" fmla="*/ 244 w 922"/>
                  <a:gd name="T7" fmla="*/ 354 h 1657"/>
                  <a:gd name="T8" fmla="*/ 201 w 922"/>
                  <a:gd name="T9" fmla="*/ 380 h 1657"/>
                  <a:gd name="T10" fmla="*/ 25 w 922"/>
                  <a:gd name="T11" fmla="*/ 638 h 1657"/>
                  <a:gd name="T12" fmla="*/ 0 w 922"/>
                  <a:gd name="T13" fmla="*/ 452 h 1657"/>
                  <a:gd name="T14" fmla="*/ 446 w 922"/>
                  <a:gd name="T15" fmla="*/ 0 h 1657"/>
                  <a:gd name="T16" fmla="*/ 892 w 922"/>
                  <a:gd name="T17" fmla="*/ 452 h 1657"/>
                  <a:gd name="T18" fmla="*/ 890 w 922"/>
                  <a:gd name="T19" fmla="*/ 537 h 1657"/>
                  <a:gd name="T20" fmla="*/ 483 w 922"/>
                  <a:gd name="T21" fmla="*/ 1448 h 1657"/>
                  <a:gd name="T22" fmla="*/ 484 w 922"/>
                  <a:gd name="T23" fmla="*/ 1440 h 1657"/>
                  <a:gd name="T24" fmla="*/ 535 w 922"/>
                  <a:gd name="T25" fmla="*/ 1344 h 1657"/>
                  <a:gd name="T26" fmla="*/ 530 w 922"/>
                  <a:gd name="T27" fmla="*/ 1330 h 1657"/>
                  <a:gd name="T28" fmla="*/ 446 w 922"/>
                  <a:gd name="T29" fmla="*/ 1317 h 1657"/>
                  <a:gd name="T30" fmla="*/ 357 w 922"/>
                  <a:gd name="T31" fmla="*/ 1330 h 1657"/>
                  <a:gd name="T32" fmla="*/ 352 w 922"/>
                  <a:gd name="T33" fmla="*/ 1344 h 1657"/>
                  <a:gd name="T34" fmla="*/ 403 w 922"/>
                  <a:gd name="T35" fmla="*/ 1441 h 1657"/>
                  <a:gd name="T36" fmla="*/ 404 w 922"/>
                  <a:gd name="T37" fmla="*/ 1449 h 1657"/>
                  <a:gd name="T38" fmla="*/ 404 w 922"/>
                  <a:gd name="T39" fmla="*/ 1657 h 1657"/>
                  <a:gd name="T40" fmla="*/ 483 w 922"/>
                  <a:gd name="T41" fmla="*/ 1657 h 1657"/>
                  <a:gd name="T42" fmla="*/ 483 w 922"/>
                  <a:gd name="T43" fmla="*/ 1448 h 165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922" h="1657">
                    <a:moveTo>
                      <a:pt x="890" y="537"/>
                    </a:moveTo>
                    <a:cubicBezTo>
                      <a:pt x="888" y="561"/>
                      <a:pt x="896" y="597"/>
                      <a:pt x="922" y="635"/>
                    </a:cubicBezTo>
                    <a:cubicBezTo>
                      <a:pt x="922" y="635"/>
                      <a:pt x="830" y="700"/>
                      <a:pt x="786" y="675"/>
                    </a:cubicBezTo>
                    <a:cubicBezTo>
                      <a:pt x="735" y="647"/>
                      <a:pt x="523" y="353"/>
                      <a:pt x="244" y="354"/>
                    </a:cubicBezTo>
                    <a:cubicBezTo>
                      <a:pt x="244" y="354"/>
                      <a:pt x="214" y="371"/>
                      <a:pt x="201" y="380"/>
                    </a:cubicBezTo>
                    <a:cubicBezTo>
                      <a:pt x="75" y="465"/>
                      <a:pt x="69" y="677"/>
                      <a:pt x="25" y="638"/>
                    </a:cubicBezTo>
                    <a:cubicBezTo>
                      <a:pt x="9" y="618"/>
                      <a:pt x="0" y="507"/>
                      <a:pt x="0" y="452"/>
                    </a:cubicBezTo>
                    <a:cubicBezTo>
                      <a:pt x="0" y="202"/>
                      <a:pt x="194" y="0"/>
                      <a:pt x="446" y="0"/>
                    </a:cubicBezTo>
                    <a:cubicBezTo>
                      <a:pt x="699" y="0"/>
                      <a:pt x="892" y="202"/>
                      <a:pt x="892" y="452"/>
                    </a:cubicBezTo>
                    <a:cubicBezTo>
                      <a:pt x="892" y="481"/>
                      <a:pt x="893" y="510"/>
                      <a:pt x="890" y="537"/>
                    </a:cubicBezTo>
                    <a:close/>
                    <a:moveTo>
                      <a:pt x="483" y="1448"/>
                    </a:moveTo>
                    <a:cubicBezTo>
                      <a:pt x="482" y="1446"/>
                      <a:pt x="482" y="1443"/>
                      <a:pt x="484" y="1440"/>
                    </a:cubicBezTo>
                    <a:cubicBezTo>
                      <a:pt x="535" y="1344"/>
                      <a:pt x="535" y="1344"/>
                      <a:pt x="535" y="1344"/>
                    </a:cubicBezTo>
                    <a:cubicBezTo>
                      <a:pt x="538" y="1338"/>
                      <a:pt x="535" y="1331"/>
                      <a:pt x="530" y="1330"/>
                    </a:cubicBezTo>
                    <a:cubicBezTo>
                      <a:pt x="512" y="1325"/>
                      <a:pt x="475" y="1317"/>
                      <a:pt x="446" y="1317"/>
                    </a:cubicBezTo>
                    <a:cubicBezTo>
                      <a:pt x="416" y="1317"/>
                      <a:pt x="376" y="1325"/>
                      <a:pt x="357" y="1330"/>
                    </a:cubicBezTo>
                    <a:cubicBezTo>
                      <a:pt x="352" y="1331"/>
                      <a:pt x="349" y="1338"/>
                      <a:pt x="352" y="1344"/>
                    </a:cubicBezTo>
                    <a:cubicBezTo>
                      <a:pt x="403" y="1441"/>
                      <a:pt x="403" y="1441"/>
                      <a:pt x="403" y="1441"/>
                    </a:cubicBezTo>
                    <a:cubicBezTo>
                      <a:pt x="404" y="1443"/>
                      <a:pt x="405" y="1446"/>
                      <a:pt x="404" y="1449"/>
                    </a:cubicBezTo>
                    <a:cubicBezTo>
                      <a:pt x="404" y="1449"/>
                      <a:pt x="404" y="1611"/>
                      <a:pt x="404" y="1657"/>
                    </a:cubicBezTo>
                    <a:cubicBezTo>
                      <a:pt x="483" y="1657"/>
                      <a:pt x="483" y="1657"/>
                      <a:pt x="483" y="1657"/>
                    </a:cubicBezTo>
                    <a:cubicBezTo>
                      <a:pt x="483" y="1610"/>
                      <a:pt x="483" y="1448"/>
                      <a:pt x="483" y="1448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31" name="Freeform 16">
                <a:extLst>
                  <a:ext uri="{FF2B5EF4-FFF2-40B4-BE49-F238E27FC236}">
                    <a16:creationId xmlns:a16="http://schemas.microsoft.com/office/drawing/2014/main" xmlns="" id="{D11055DF-57FD-41EC-B05C-5B9F4251B3B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48" y="1802"/>
                <a:ext cx="3384" cy="1869"/>
              </a:xfrm>
              <a:custGeom>
                <a:avLst/>
                <a:gdLst>
                  <a:gd name="T0" fmla="*/ 833 w 1806"/>
                  <a:gd name="T1" fmla="*/ 997 h 997"/>
                  <a:gd name="T2" fmla="*/ 26 w 1806"/>
                  <a:gd name="T3" fmla="*/ 997 h 997"/>
                  <a:gd name="T4" fmla="*/ 5 w 1806"/>
                  <a:gd name="T5" fmla="*/ 967 h 997"/>
                  <a:gd name="T6" fmla="*/ 223 w 1806"/>
                  <a:gd name="T7" fmla="*/ 650 h 997"/>
                  <a:gd name="T8" fmla="*/ 611 w 1806"/>
                  <a:gd name="T9" fmla="*/ 584 h 997"/>
                  <a:gd name="T10" fmla="*/ 611 w 1806"/>
                  <a:gd name="T11" fmla="*/ 584 h 997"/>
                  <a:gd name="T12" fmla="*/ 519 w 1806"/>
                  <a:gd name="T13" fmla="*/ 732 h 997"/>
                  <a:gd name="T14" fmla="*/ 661 w 1806"/>
                  <a:gd name="T15" fmla="*/ 732 h 997"/>
                  <a:gd name="T16" fmla="*/ 833 w 1806"/>
                  <a:gd name="T17" fmla="*/ 997 h 997"/>
                  <a:gd name="T18" fmla="*/ 1801 w 1806"/>
                  <a:gd name="T19" fmla="*/ 967 h 997"/>
                  <a:gd name="T20" fmla="*/ 1583 w 1806"/>
                  <a:gd name="T21" fmla="*/ 650 h 997"/>
                  <a:gd name="T22" fmla="*/ 1195 w 1806"/>
                  <a:gd name="T23" fmla="*/ 584 h 997"/>
                  <a:gd name="T24" fmla="*/ 1195 w 1806"/>
                  <a:gd name="T25" fmla="*/ 584 h 997"/>
                  <a:gd name="T26" fmla="*/ 1287 w 1806"/>
                  <a:gd name="T27" fmla="*/ 732 h 997"/>
                  <a:gd name="T28" fmla="*/ 1145 w 1806"/>
                  <a:gd name="T29" fmla="*/ 732 h 997"/>
                  <a:gd name="T30" fmla="*/ 973 w 1806"/>
                  <a:gd name="T31" fmla="*/ 997 h 997"/>
                  <a:gd name="T32" fmla="*/ 1780 w 1806"/>
                  <a:gd name="T33" fmla="*/ 997 h 997"/>
                  <a:gd name="T34" fmla="*/ 1801 w 1806"/>
                  <a:gd name="T35" fmla="*/ 967 h 997"/>
                  <a:gd name="T36" fmla="*/ 1300 w 1806"/>
                  <a:gd name="T37" fmla="*/ 61 h 997"/>
                  <a:gd name="T38" fmla="*/ 1300 w 1806"/>
                  <a:gd name="T39" fmla="*/ 61 h 997"/>
                  <a:gd name="T40" fmla="*/ 1262 w 1806"/>
                  <a:gd name="T41" fmla="*/ 99 h 997"/>
                  <a:gd name="T42" fmla="*/ 1252 w 1806"/>
                  <a:gd name="T43" fmla="*/ 111 h 997"/>
                  <a:gd name="T44" fmla="*/ 1116 w 1806"/>
                  <a:gd name="T45" fmla="*/ 396 h 997"/>
                  <a:gd name="T46" fmla="*/ 904 w 1806"/>
                  <a:gd name="T47" fmla="*/ 502 h 997"/>
                  <a:gd name="T48" fmla="*/ 691 w 1806"/>
                  <a:gd name="T49" fmla="*/ 396 h 997"/>
                  <a:gd name="T50" fmla="*/ 556 w 1806"/>
                  <a:gd name="T51" fmla="*/ 111 h 997"/>
                  <a:gd name="T52" fmla="*/ 542 w 1806"/>
                  <a:gd name="T53" fmla="*/ 98 h 997"/>
                  <a:gd name="T54" fmla="*/ 497 w 1806"/>
                  <a:gd name="T55" fmla="*/ 26 h 997"/>
                  <a:gd name="T56" fmla="*/ 495 w 1806"/>
                  <a:gd name="T57" fmla="*/ 26 h 997"/>
                  <a:gd name="T58" fmla="*/ 487 w 1806"/>
                  <a:gd name="T59" fmla="*/ 26 h 997"/>
                  <a:gd name="T60" fmla="*/ 477 w 1806"/>
                  <a:gd name="T61" fmla="*/ 24 h 997"/>
                  <a:gd name="T62" fmla="*/ 474 w 1806"/>
                  <a:gd name="T63" fmla="*/ 23 h 997"/>
                  <a:gd name="T64" fmla="*/ 463 w 1806"/>
                  <a:gd name="T65" fmla="*/ 18 h 997"/>
                  <a:gd name="T66" fmla="*/ 456 w 1806"/>
                  <a:gd name="T67" fmla="*/ 11 h 997"/>
                  <a:gd name="T68" fmla="*/ 450 w 1806"/>
                  <a:gd name="T69" fmla="*/ 0 h 997"/>
                  <a:gd name="T70" fmla="*/ 518 w 1806"/>
                  <a:gd name="T71" fmla="*/ 135 h 997"/>
                  <a:gd name="T72" fmla="*/ 662 w 1806"/>
                  <a:gd name="T73" fmla="*/ 429 h 997"/>
                  <a:gd name="T74" fmla="*/ 666 w 1806"/>
                  <a:gd name="T75" fmla="*/ 432 h 997"/>
                  <a:gd name="T76" fmla="*/ 666 w 1806"/>
                  <a:gd name="T77" fmla="*/ 572 h 997"/>
                  <a:gd name="T78" fmla="*/ 710 w 1806"/>
                  <a:gd name="T79" fmla="*/ 609 h 997"/>
                  <a:gd name="T80" fmla="*/ 710 w 1806"/>
                  <a:gd name="T81" fmla="*/ 465 h 997"/>
                  <a:gd name="T82" fmla="*/ 904 w 1806"/>
                  <a:gd name="T83" fmla="*/ 546 h 997"/>
                  <a:gd name="T84" fmla="*/ 1096 w 1806"/>
                  <a:gd name="T85" fmla="*/ 466 h 997"/>
                  <a:gd name="T86" fmla="*/ 1096 w 1806"/>
                  <a:gd name="T87" fmla="*/ 608 h 997"/>
                  <a:gd name="T88" fmla="*/ 1140 w 1806"/>
                  <a:gd name="T89" fmla="*/ 572 h 997"/>
                  <a:gd name="T90" fmla="*/ 1140 w 1806"/>
                  <a:gd name="T91" fmla="*/ 433 h 997"/>
                  <a:gd name="T92" fmla="*/ 1145 w 1806"/>
                  <a:gd name="T93" fmla="*/ 429 h 997"/>
                  <a:gd name="T94" fmla="*/ 1290 w 1806"/>
                  <a:gd name="T95" fmla="*/ 134 h 997"/>
                  <a:gd name="T96" fmla="*/ 1353 w 1806"/>
                  <a:gd name="T97" fmla="*/ 42 h 997"/>
                  <a:gd name="T98" fmla="*/ 1300 w 1806"/>
                  <a:gd name="T99" fmla="*/ 61 h 99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</a:cxnLst>
                <a:rect l="0" t="0" r="r" b="b"/>
                <a:pathLst>
                  <a:path w="1806" h="997">
                    <a:moveTo>
                      <a:pt x="833" y="997"/>
                    </a:moveTo>
                    <a:cubicBezTo>
                      <a:pt x="26" y="997"/>
                      <a:pt x="26" y="997"/>
                      <a:pt x="26" y="997"/>
                    </a:cubicBezTo>
                    <a:cubicBezTo>
                      <a:pt x="10" y="997"/>
                      <a:pt x="0" y="981"/>
                      <a:pt x="5" y="967"/>
                    </a:cubicBezTo>
                    <a:cubicBezTo>
                      <a:pt x="33" y="893"/>
                      <a:pt x="113" y="700"/>
                      <a:pt x="223" y="650"/>
                    </a:cubicBezTo>
                    <a:cubicBezTo>
                      <a:pt x="359" y="587"/>
                      <a:pt x="611" y="584"/>
                      <a:pt x="611" y="584"/>
                    </a:cubicBezTo>
                    <a:cubicBezTo>
                      <a:pt x="611" y="584"/>
                      <a:pt x="611" y="584"/>
                      <a:pt x="611" y="584"/>
                    </a:cubicBezTo>
                    <a:cubicBezTo>
                      <a:pt x="519" y="732"/>
                      <a:pt x="519" y="732"/>
                      <a:pt x="519" y="732"/>
                    </a:cubicBezTo>
                    <a:cubicBezTo>
                      <a:pt x="661" y="732"/>
                      <a:pt x="661" y="732"/>
                      <a:pt x="661" y="732"/>
                    </a:cubicBezTo>
                    <a:lnTo>
                      <a:pt x="833" y="997"/>
                    </a:lnTo>
                    <a:close/>
                    <a:moveTo>
                      <a:pt x="1801" y="967"/>
                    </a:moveTo>
                    <a:cubicBezTo>
                      <a:pt x="1773" y="893"/>
                      <a:pt x="1693" y="700"/>
                      <a:pt x="1583" y="650"/>
                    </a:cubicBezTo>
                    <a:cubicBezTo>
                      <a:pt x="1447" y="587"/>
                      <a:pt x="1195" y="584"/>
                      <a:pt x="1195" y="584"/>
                    </a:cubicBezTo>
                    <a:cubicBezTo>
                      <a:pt x="1195" y="584"/>
                      <a:pt x="1195" y="584"/>
                      <a:pt x="1195" y="584"/>
                    </a:cubicBezTo>
                    <a:cubicBezTo>
                      <a:pt x="1287" y="732"/>
                      <a:pt x="1287" y="732"/>
                      <a:pt x="1287" y="732"/>
                    </a:cubicBezTo>
                    <a:cubicBezTo>
                      <a:pt x="1145" y="732"/>
                      <a:pt x="1145" y="732"/>
                      <a:pt x="1145" y="732"/>
                    </a:cubicBezTo>
                    <a:cubicBezTo>
                      <a:pt x="973" y="997"/>
                      <a:pt x="973" y="997"/>
                      <a:pt x="973" y="997"/>
                    </a:cubicBezTo>
                    <a:cubicBezTo>
                      <a:pt x="1780" y="997"/>
                      <a:pt x="1780" y="997"/>
                      <a:pt x="1780" y="997"/>
                    </a:cubicBezTo>
                    <a:cubicBezTo>
                      <a:pt x="1796" y="997"/>
                      <a:pt x="1806" y="981"/>
                      <a:pt x="1801" y="967"/>
                    </a:cubicBezTo>
                    <a:close/>
                    <a:moveTo>
                      <a:pt x="1300" y="61"/>
                    </a:moveTo>
                    <a:cubicBezTo>
                      <a:pt x="1300" y="61"/>
                      <a:pt x="1300" y="61"/>
                      <a:pt x="1300" y="61"/>
                    </a:cubicBezTo>
                    <a:cubicBezTo>
                      <a:pt x="1292" y="76"/>
                      <a:pt x="1281" y="90"/>
                      <a:pt x="1262" y="99"/>
                    </a:cubicBezTo>
                    <a:cubicBezTo>
                      <a:pt x="1258" y="102"/>
                      <a:pt x="1254" y="106"/>
                      <a:pt x="1252" y="111"/>
                    </a:cubicBezTo>
                    <a:cubicBezTo>
                      <a:pt x="1214" y="208"/>
                      <a:pt x="1143" y="372"/>
                      <a:pt x="1116" y="396"/>
                    </a:cubicBezTo>
                    <a:cubicBezTo>
                      <a:pt x="1075" y="432"/>
                      <a:pt x="963" y="502"/>
                      <a:pt x="904" y="502"/>
                    </a:cubicBezTo>
                    <a:cubicBezTo>
                      <a:pt x="844" y="502"/>
                      <a:pt x="732" y="432"/>
                      <a:pt x="691" y="396"/>
                    </a:cubicBezTo>
                    <a:cubicBezTo>
                      <a:pt x="664" y="372"/>
                      <a:pt x="594" y="208"/>
                      <a:pt x="556" y="111"/>
                    </a:cubicBezTo>
                    <a:cubicBezTo>
                      <a:pt x="553" y="105"/>
                      <a:pt x="548" y="100"/>
                      <a:pt x="542" y="98"/>
                    </a:cubicBezTo>
                    <a:cubicBezTo>
                      <a:pt x="516" y="88"/>
                      <a:pt x="503" y="54"/>
                      <a:pt x="497" y="26"/>
                    </a:cubicBezTo>
                    <a:cubicBezTo>
                      <a:pt x="497" y="26"/>
                      <a:pt x="496" y="26"/>
                      <a:pt x="495" y="26"/>
                    </a:cubicBezTo>
                    <a:cubicBezTo>
                      <a:pt x="493" y="26"/>
                      <a:pt x="490" y="26"/>
                      <a:pt x="487" y="26"/>
                    </a:cubicBezTo>
                    <a:cubicBezTo>
                      <a:pt x="484" y="26"/>
                      <a:pt x="480" y="25"/>
                      <a:pt x="477" y="24"/>
                    </a:cubicBezTo>
                    <a:cubicBezTo>
                      <a:pt x="476" y="24"/>
                      <a:pt x="475" y="24"/>
                      <a:pt x="474" y="23"/>
                    </a:cubicBezTo>
                    <a:cubicBezTo>
                      <a:pt x="470" y="22"/>
                      <a:pt x="467" y="20"/>
                      <a:pt x="463" y="18"/>
                    </a:cubicBezTo>
                    <a:cubicBezTo>
                      <a:pt x="461" y="16"/>
                      <a:pt x="458" y="14"/>
                      <a:pt x="456" y="11"/>
                    </a:cubicBezTo>
                    <a:cubicBezTo>
                      <a:pt x="454" y="7"/>
                      <a:pt x="452" y="3"/>
                      <a:pt x="450" y="0"/>
                    </a:cubicBezTo>
                    <a:cubicBezTo>
                      <a:pt x="451" y="32"/>
                      <a:pt x="464" y="108"/>
                      <a:pt x="518" y="135"/>
                    </a:cubicBezTo>
                    <a:cubicBezTo>
                      <a:pt x="541" y="194"/>
                      <a:pt x="621" y="393"/>
                      <a:pt x="662" y="429"/>
                    </a:cubicBezTo>
                    <a:cubicBezTo>
                      <a:pt x="663" y="430"/>
                      <a:pt x="665" y="431"/>
                      <a:pt x="666" y="432"/>
                    </a:cubicBezTo>
                    <a:cubicBezTo>
                      <a:pt x="666" y="572"/>
                      <a:pt x="666" y="572"/>
                      <a:pt x="666" y="572"/>
                    </a:cubicBezTo>
                    <a:cubicBezTo>
                      <a:pt x="678" y="582"/>
                      <a:pt x="693" y="594"/>
                      <a:pt x="710" y="609"/>
                    </a:cubicBezTo>
                    <a:cubicBezTo>
                      <a:pt x="710" y="465"/>
                      <a:pt x="710" y="465"/>
                      <a:pt x="710" y="465"/>
                    </a:cubicBezTo>
                    <a:cubicBezTo>
                      <a:pt x="766" y="504"/>
                      <a:pt x="847" y="546"/>
                      <a:pt x="904" y="546"/>
                    </a:cubicBezTo>
                    <a:cubicBezTo>
                      <a:pt x="960" y="546"/>
                      <a:pt x="1040" y="504"/>
                      <a:pt x="1096" y="466"/>
                    </a:cubicBezTo>
                    <a:cubicBezTo>
                      <a:pt x="1096" y="608"/>
                      <a:pt x="1096" y="608"/>
                      <a:pt x="1096" y="608"/>
                    </a:cubicBezTo>
                    <a:cubicBezTo>
                      <a:pt x="1113" y="594"/>
                      <a:pt x="1128" y="582"/>
                      <a:pt x="1140" y="572"/>
                    </a:cubicBezTo>
                    <a:cubicBezTo>
                      <a:pt x="1140" y="433"/>
                      <a:pt x="1140" y="433"/>
                      <a:pt x="1140" y="433"/>
                    </a:cubicBezTo>
                    <a:cubicBezTo>
                      <a:pt x="1142" y="432"/>
                      <a:pt x="1144" y="430"/>
                      <a:pt x="1145" y="429"/>
                    </a:cubicBezTo>
                    <a:cubicBezTo>
                      <a:pt x="1186" y="392"/>
                      <a:pt x="1267" y="191"/>
                      <a:pt x="1290" y="134"/>
                    </a:cubicBezTo>
                    <a:cubicBezTo>
                      <a:pt x="1332" y="109"/>
                      <a:pt x="1347" y="68"/>
                      <a:pt x="1353" y="42"/>
                    </a:cubicBezTo>
                    <a:cubicBezTo>
                      <a:pt x="1337" y="50"/>
                      <a:pt x="1319" y="57"/>
                      <a:pt x="1300" y="6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</p:grpSp>
      </p:grpSp>
      <p:grpSp>
        <p:nvGrpSpPr>
          <p:cNvPr id="7" name="Group 6"/>
          <p:cNvGrpSpPr/>
          <p:nvPr/>
        </p:nvGrpSpPr>
        <p:grpSpPr>
          <a:xfrm>
            <a:off x="3519404" y="3009813"/>
            <a:ext cx="945001" cy="1207528"/>
            <a:chOff x="5015845" y="4011844"/>
            <a:chExt cx="1260001" cy="1609541"/>
          </a:xfrm>
        </p:grpSpPr>
        <p:sp>
          <p:nvSpPr>
            <p:cNvPr id="12" name="Rectangle 11"/>
            <p:cNvSpPr/>
            <p:nvPr/>
          </p:nvSpPr>
          <p:spPr>
            <a:xfrm>
              <a:off x="5109781" y="4011844"/>
              <a:ext cx="1072129" cy="1609541"/>
            </a:xfrm>
            <a:prstGeom prst="rect">
              <a:avLst/>
            </a:prstGeom>
            <a:noFill/>
            <a:ln w="9525" cap="rnd" cmpd="sng" algn="ctr">
              <a:solidFill>
                <a:srgbClr val="9A9A9A"/>
              </a:solidFill>
              <a:prstDash val="sysDash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750"/>
                </a:spcAft>
              </a:pPr>
              <a:endParaRPr lang="ru-RU" sz="900" dirty="0" err="1">
                <a:solidFill>
                  <a:srgbClr val="FFFFFF"/>
                </a:solidFill>
              </a:endParaRPr>
            </a:p>
          </p:txBody>
        </p:sp>
        <p:sp>
          <p:nvSpPr>
            <p:cNvPr id="19" name="Rectangle 18"/>
            <p:cNvSpPr/>
            <p:nvPr/>
          </p:nvSpPr>
          <p:spPr>
            <a:xfrm>
              <a:off x="5015845" y="4798624"/>
              <a:ext cx="1260001" cy="676899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algn="ctr">
                <a:buSzPct val="100000"/>
              </a:pPr>
              <a:r>
                <a:rPr lang="ru-RU" sz="900" dirty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>Закон РФ </a:t>
              </a:r>
              <a:br>
                <a:rPr lang="ru-RU" sz="900" dirty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</a:br>
              <a:r>
                <a:rPr lang="en-US" sz="900" dirty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>2124-1</a:t>
              </a:r>
              <a:r>
                <a:rPr lang="ru-RU" sz="900" dirty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> </a:t>
              </a:r>
              <a:r>
                <a:rPr lang="en-US" sz="900" dirty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/>
              </a:r>
              <a:br>
                <a:rPr lang="en-US" sz="900" dirty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</a:br>
              <a:r>
                <a:rPr lang="en-US" sz="900" dirty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>“</a:t>
              </a:r>
              <a:r>
                <a:rPr lang="ru-RU" sz="900" dirty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>О СМИ</a:t>
              </a:r>
              <a:r>
                <a:rPr lang="en-US" sz="900" dirty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>”</a:t>
              </a:r>
              <a:r>
                <a:rPr lang="en-US" sz="900" baseline="30000" dirty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>4</a:t>
              </a:r>
              <a:endParaRPr lang="ru-RU" sz="900" baseline="300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endParaRPr>
            </a:p>
          </p:txBody>
        </p:sp>
        <p:grpSp>
          <p:nvGrpSpPr>
            <p:cNvPr id="32" name="Group 4">
              <a:extLst>
                <a:ext uri="{FF2B5EF4-FFF2-40B4-BE49-F238E27FC236}">
                  <a16:creationId xmlns:a16="http://schemas.microsoft.com/office/drawing/2014/main" xmlns="" id="{ACB05143-6EEA-4B99-98A9-2AC422F1BD75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376095" y="4096509"/>
              <a:ext cx="539500" cy="540000"/>
              <a:chOff x="1682" y="0"/>
              <a:chExt cx="4316" cy="4320"/>
            </a:xfrm>
          </p:grpSpPr>
          <p:sp>
            <p:nvSpPr>
              <p:cNvPr id="33" name="AutoShape 3">
                <a:extLst>
                  <a:ext uri="{FF2B5EF4-FFF2-40B4-BE49-F238E27FC236}">
                    <a16:creationId xmlns:a16="http://schemas.microsoft.com/office/drawing/2014/main" xmlns="" id="{8F91B27C-21F5-4DBD-9D9F-F116824D388F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34" name="Freeform 5">
                <a:extLst>
                  <a:ext uri="{FF2B5EF4-FFF2-40B4-BE49-F238E27FC236}">
                    <a16:creationId xmlns:a16="http://schemas.microsoft.com/office/drawing/2014/main" xmlns="" id="{FE2D33EA-1E3D-410E-952A-47E2BB7C5D0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71" y="1202"/>
                <a:ext cx="3938" cy="2711"/>
              </a:xfrm>
              <a:custGeom>
                <a:avLst/>
                <a:gdLst>
                  <a:gd name="T0" fmla="*/ 1334 w 2102"/>
                  <a:gd name="T1" fmla="*/ 0 h 1446"/>
                  <a:gd name="T2" fmla="*/ 1350 w 2102"/>
                  <a:gd name="T3" fmla="*/ 183 h 1446"/>
                  <a:gd name="T4" fmla="*/ 1261 w 2102"/>
                  <a:gd name="T5" fmla="*/ 14 h 1446"/>
                  <a:gd name="T6" fmla="*/ 836 w 2102"/>
                  <a:gd name="T7" fmla="*/ 1110 h 1446"/>
                  <a:gd name="T8" fmla="*/ 731 w 2102"/>
                  <a:gd name="T9" fmla="*/ 1414 h 1446"/>
                  <a:gd name="T10" fmla="*/ 773 w 2102"/>
                  <a:gd name="T11" fmla="*/ 1429 h 1446"/>
                  <a:gd name="T12" fmla="*/ 1680 w 2102"/>
                  <a:gd name="T13" fmla="*/ 1139 h 1446"/>
                  <a:gd name="T14" fmla="*/ 1800 w 2102"/>
                  <a:gd name="T15" fmla="*/ 1443 h 1446"/>
                  <a:gd name="T16" fmla="*/ 1821 w 2102"/>
                  <a:gd name="T17" fmla="*/ 1414 h 1446"/>
                  <a:gd name="T18" fmla="*/ 1276 w 2102"/>
                  <a:gd name="T19" fmla="*/ 658 h 1446"/>
                  <a:gd name="T20" fmla="*/ 1052 w 2102"/>
                  <a:gd name="T21" fmla="*/ 791 h 1446"/>
                  <a:gd name="T22" fmla="*/ 1276 w 2102"/>
                  <a:gd name="T23" fmla="*/ 917 h 1446"/>
                  <a:gd name="T24" fmla="*/ 1472 w 2102"/>
                  <a:gd name="T25" fmla="*/ 835 h 1446"/>
                  <a:gd name="T26" fmla="*/ 1233 w 2102"/>
                  <a:gd name="T27" fmla="*/ 633 h 1446"/>
                  <a:gd name="T28" fmla="*/ 1079 w 2102"/>
                  <a:gd name="T29" fmla="*/ 542 h 1446"/>
                  <a:gd name="T30" fmla="*/ 1319 w 2102"/>
                  <a:gd name="T31" fmla="*/ 633 h 1446"/>
                  <a:gd name="T32" fmla="*/ 1553 w 2102"/>
                  <a:gd name="T33" fmla="*/ 771 h 1446"/>
                  <a:gd name="T34" fmla="*/ 1147 w 2102"/>
                  <a:gd name="T35" fmla="*/ 531 h 1446"/>
                  <a:gd name="T36" fmla="*/ 1276 w 2102"/>
                  <a:gd name="T37" fmla="*/ 607 h 1446"/>
                  <a:gd name="T38" fmla="*/ 1455 w 2102"/>
                  <a:gd name="T39" fmla="*/ 487 h 1446"/>
                  <a:gd name="T40" fmla="*/ 1187 w 2102"/>
                  <a:gd name="T41" fmla="*/ 227 h 1446"/>
                  <a:gd name="T42" fmla="*/ 976 w 2102"/>
                  <a:gd name="T43" fmla="*/ 839 h 1446"/>
                  <a:gd name="T44" fmla="*/ 894 w 2102"/>
                  <a:gd name="T45" fmla="*/ 1078 h 1446"/>
                  <a:gd name="T46" fmla="*/ 966 w 2102"/>
                  <a:gd name="T47" fmla="*/ 1095 h 1446"/>
                  <a:gd name="T48" fmla="*/ 1586 w 2102"/>
                  <a:gd name="T49" fmla="*/ 1095 h 1446"/>
                  <a:gd name="T50" fmla="*/ 1333 w 2102"/>
                  <a:gd name="T51" fmla="*/ 941 h 1446"/>
                  <a:gd name="T52" fmla="*/ 1659 w 2102"/>
                  <a:gd name="T53" fmla="*/ 1078 h 1446"/>
                  <a:gd name="T54" fmla="*/ 747 w 2102"/>
                  <a:gd name="T55" fmla="*/ 1086 h 1446"/>
                  <a:gd name="T56" fmla="*/ 416 w 2102"/>
                  <a:gd name="T57" fmla="*/ 1069 h 1446"/>
                  <a:gd name="T58" fmla="*/ 506 w 2102"/>
                  <a:gd name="T59" fmla="*/ 1001 h 1446"/>
                  <a:gd name="T60" fmla="*/ 22 w 2102"/>
                  <a:gd name="T61" fmla="*/ 987 h 1446"/>
                  <a:gd name="T62" fmla="*/ 0 w 2102"/>
                  <a:gd name="T63" fmla="*/ 329 h 1446"/>
                  <a:gd name="T64" fmla="*/ 1066 w 2102"/>
                  <a:gd name="T65" fmla="*/ 307 h 1446"/>
                  <a:gd name="T66" fmla="*/ 44 w 2102"/>
                  <a:gd name="T67" fmla="*/ 351 h 1446"/>
                  <a:gd name="T68" fmla="*/ 528 w 2102"/>
                  <a:gd name="T69" fmla="*/ 943 h 1446"/>
                  <a:gd name="T70" fmla="*/ 550 w 2102"/>
                  <a:gd name="T71" fmla="*/ 1014 h 1446"/>
                  <a:gd name="T72" fmla="*/ 523 w 2102"/>
                  <a:gd name="T73" fmla="*/ 1042 h 1446"/>
                  <a:gd name="T74" fmla="*/ 646 w 2102"/>
                  <a:gd name="T75" fmla="*/ 1033 h 1446"/>
                  <a:gd name="T76" fmla="*/ 634 w 2102"/>
                  <a:gd name="T77" fmla="*/ 965 h 1446"/>
                  <a:gd name="T78" fmla="*/ 847 w 2102"/>
                  <a:gd name="T79" fmla="*/ 943 h 1446"/>
                  <a:gd name="T80" fmla="*/ 678 w 2102"/>
                  <a:gd name="T81" fmla="*/ 987 h 1446"/>
                  <a:gd name="T82" fmla="*/ 758 w 2102"/>
                  <a:gd name="T83" fmla="*/ 1044 h 1446"/>
                  <a:gd name="T84" fmla="*/ 747 w 2102"/>
                  <a:gd name="T85" fmla="*/ 1086 h 1446"/>
                  <a:gd name="T86" fmla="*/ 2102 w 2102"/>
                  <a:gd name="T87" fmla="*/ 899 h 1446"/>
                  <a:gd name="T88" fmla="*/ 2102 w 2102"/>
                  <a:gd name="T89" fmla="*/ 1063 h 1446"/>
                  <a:gd name="T90" fmla="*/ 1754 w 2102"/>
                  <a:gd name="T91" fmla="*/ 1085 h 1446"/>
                  <a:gd name="T92" fmla="*/ 2058 w 2102"/>
                  <a:gd name="T93" fmla="*/ 1041 h 1446"/>
                  <a:gd name="T94" fmla="*/ 1705 w 2102"/>
                  <a:gd name="T95" fmla="*/ 943 h 1446"/>
                  <a:gd name="T96" fmla="*/ 2058 w 2102"/>
                  <a:gd name="T97" fmla="*/ 899 h 1446"/>
                  <a:gd name="T98" fmla="*/ 1634 w 2102"/>
                  <a:gd name="T99" fmla="*/ 174 h 1446"/>
                  <a:gd name="T100" fmla="*/ 1590 w 2102"/>
                  <a:gd name="T101" fmla="*/ 609 h 1446"/>
                  <a:gd name="T102" fmla="*/ 1612 w 2102"/>
                  <a:gd name="T103" fmla="*/ 130 h 1446"/>
                  <a:gd name="T104" fmla="*/ 2102 w 2102"/>
                  <a:gd name="T105" fmla="*/ 152 h 14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</a:cxnLst>
                <a:rect l="0" t="0" r="r" b="b"/>
                <a:pathLst>
                  <a:path w="2102" h="1446">
                    <a:moveTo>
                      <a:pt x="1821" y="1414"/>
                    </a:moveTo>
                    <a:cubicBezTo>
                      <a:pt x="1334" y="0"/>
                      <a:pt x="1334" y="0"/>
                      <a:pt x="1334" y="0"/>
                    </a:cubicBezTo>
                    <a:cubicBezTo>
                      <a:pt x="1321" y="7"/>
                      <a:pt x="1307" y="12"/>
                      <a:pt x="1292" y="14"/>
                    </a:cubicBezTo>
                    <a:cubicBezTo>
                      <a:pt x="1350" y="183"/>
                      <a:pt x="1350" y="183"/>
                      <a:pt x="1350" y="183"/>
                    </a:cubicBezTo>
                    <a:cubicBezTo>
                      <a:pt x="1202" y="183"/>
                      <a:pt x="1202" y="183"/>
                      <a:pt x="1202" y="183"/>
                    </a:cubicBezTo>
                    <a:cubicBezTo>
                      <a:pt x="1261" y="14"/>
                      <a:pt x="1261" y="14"/>
                      <a:pt x="1261" y="14"/>
                    </a:cubicBezTo>
                    <a:cubicBezTo>
                      <a:pt x="1246" y="12"/>
                      <a:pt x="1231" y="7"/>
                      <a:pt x="1219" y="0"/>
                    </a:cubicBezTo>
                    <a:cubicBezTo>
                      <a:pt x="836" y="1110"/>
                      <a:pt x="836" y="1110"/>
                      <a:pt x="836" y="1110"/>
                    </a:cubicBezTo>
                    <a:cubicBezTo>
                      <a:pt x="836" y="1110"/>
                      <a:pt x="836" y="1110"/>
                      <a:pt x="836" y="1110"/>
                    </a:cubicBezTo>
                    <a:cubicBezTo>
                      <a:pt x="731" y="1414"/>
                      <a:pt x="731" y="1414"/>
                      <a:pt x="731" y="1414"/>
                    </a:cubicBezTo>
                    <a:cubicBezTo>
                      <a:pt x="727" y="1426"/>
                      <a:pt x="734" y="1438"/>
                      <a:pt x="745" y="1442"/>
                    </a:cubicBezTo>
                    <a:cubicBezTo>
                      <a:pt x="757" y="1446"/>
                      <a:pt x="769" y="1440"/>
                      <a:pt x="773" y="1429"/>
                    </a:cubicBezTo>
                    <a:cubicBezTo>
                      <a:pt x="873" y="1139"/>
                      <a:pt x="873" y="1139"/>
                      <a:pt x="873" y="1139"/>
                    </a:cubicBezTo>
                    <a:cubicBezTo>
                      <a:pt x="1680" y="1139"/>
                      <a:pt x="1680" y="1139"/>
                      <a:pt x="1680" y="1139"/>
                    </a:cubicBezTo>
                    <a:cubicBezTo>
                      <a:pt x="1779" y="1429"/>
                      <a:pt x="1779" y="1429"/>
                      <a:pt x="1779" y="1429"/>
                    </a:cubicBezTo>
                    <a:cubicBezTo>
                      <a:pt x="1783" y="1438"/>
                      <a:pt x="1791" y="1443"/>
                      <a:pt x="1800" y="1443"/>
                    </a:cubicBezTo>
                    <a:cubicBezTo>
                      <a:pt x="1803" y="1443"/>
                      <a:pt x="1805" y="1443"/>
                      <a:pt x="1807" y="1442"/>
                    </a:cubicBezTo>
                    <a:cubicBezTo>
                      <a:pt x="1819" y="1438"/>
                      <a:pt x="1825" y="1426"/>
                      <a:pt x="1821" y="1414"/>
                    </a:cubicBezTo>
                    <a:close/>
                    <a:moveTo>
                      <a:pt x="1052" y="791"/>
                    </a:moveTo>
                    <a:cubicBezTo>
                      <a:pt x="1276" y="658"/>
                      <a:pt x="1276" y="658"/>
                      <a:pt x="1276" y="658"/>
                    </a:cubicBezTo>
                    <a:cubicBezTo>
                      <a:pt x="1501" y="791"/>
                      <a:pt x="1501" y="791"/>
                      <a:pt x="1501" y="791"/>
                    </a:cubicBezTo>
                    <a:lnTo>
                      <a:pt x="1052" y="791"/>
                    </a:lnTo>
                    <a:close/>
                    <a:moveTo>
                      <a:pt x="1472" y="835"/>
                    </a:moveTo>
                    <a:cubicBezTo>
                      <a:pt x="1276" y="917"/>
                      <a:pt x="1276" y="917"/>
                      <a:pt x="1276" y="917"/>
                    </a:cubicBezTo>
                    <a:cubicBezTo>
                      <a:pt x="1080" y="835"/>
                      <a:pt x="1080" y="835"/>
                      <a:pt x="1080" y="835"/>
                    </a:cubicBezTo>
                    <a:lnTo>
                      <a:pt x="1472" y="835"/>
                    </a:lnTo>
                    <a:close/>
                    <a:moveTo>
                      <a:pt x="1079" y="542"/>
                    </a:moveTo>
                    <a:cubicBezTo>
                      <a:pt x="1233" y="633"/>
                      <a:pt x="1233" y="633"/>
                      <a:pt x="1233" y="633"/>
                    </a:cubicBezTo>
                    <a:cubicBezTo>
                      <a:pt x="1000" y="771"/>
                      <a:pt x="1000" y="771"/>
                      <a:pt x="1000" y="771"/>
                    </a:cubicBezTo>
                    <a:lnTo>
                      <a:pt x="1079" y="542"/>
                    </a:lnTo>
                    <a:close/>
                    <a:moveTo>
                      <a:pt x="1553" y="771"/>
                    </a:moveTo>
                    <a:cubicBezTo>
                      <a:pt x="1319" y="633"/>
                      <a:pt x="1319" y="633"/>
                      <a:pt x="1319" y="633"/>
                    </a:cubicBezTo>
                    <a:cubicBezTo>
                      <a:pt x="1474" y="542"/>
                      <a:pt x="1474" y="542"/>
                      <a:pt x="1474" y="542"/>
                    </a:cubicBezTo>
                    <a:lnTo>
                      <a:pt x="1553" y="771"/>
                    </a:lnTo>
                    <a:close/>
                    <a:moveTo>
                      <a:pt x="1276" y="607"/>
                    </a:moveTo>
                    <a:cubicBezTo>
                      <a:pt x="1147" y="531"/>
                      <a:pt x="1147" y="531"/>
                      <a:pt x="1147" y="531"/>
                    </a:cubicBezTo>
                    <a:cubicBezTo>
                      <a:pt x="1405" y="531"/>
                      <a:pt x="1405" y="531"/>
                      <a:pt x="1405" y="531"/>
                    </a:cubicBezTo>
                    <a:lnTo>
                      <a:pt x="1276" y="607"/>
                    </a:lnTo>
                    <a:close/>
                    <a:moveTo>
                      <a:pt x="1365" y="227"/>
                    </a:moveTo>
                    <a:cubicBezTo>
                      <a:pt x="1455" y="487"/>
                      <a:pt x="1455" y="487"/>
                      <a:pt x="1455" y="487"/>
                    </a:cubicBezTo>
                    <a:cubicBezTo>
                      <a:pt x="1097" y="487"/>
                      <a:pt x="1097" y="487"/>
                      <a:pt x="1097" y="487"/>
                    </a:cubicBezTo>
                    <a:cubicBezTo>
                      <a:pt x="1187" y="227"/>
                      <a:pt x="1187" y="227"/>
                      <a:pt x="1187" y="227"/>
                    </a:cubicBezTo>
                    <a:lnTo>
                      <a:pt x="1365" y="227"/>
                    </a:lnTo>
                    <a:close/>
                    <a:moveTo>
                      <a:pt x="976" y="839"/>
                    </a:moveTo>
                    <a:cubicBezTo>
                      <a:pt x="1219" y="941"/>
                      <a:pt x="1219" y="941"/>
                      <a:pt x="1219" y="941"/>
                    </a:cubicBezTo>
                    <a:cubicBezTo>
                      <a:pt x="894" y="1078"/>
                      <a:pt x="894" y="1078"/>
                      <a:pt x="894" y="1078"/>
                    </a:cubicBezTo>
                    <a:lnTo>
                      <a:pt x="976" y="839"/>
                    </a:lnTo>
                    <a:close/>
                    <a:moveTo>
                      <a:pt x="966" y="1095"/>
                    </a:moveTo>
                    <a:cubicBezTo>
                      <a:pt x="1276" y="965"/>
                      <a:pt x="1276" y="965"/>
                      <a:pt x="1276" y="965"/>
                    </a:cubicBezTo>
                    <a:cubicBezTo>
                      <a:pt x="1586" y="1095"/>
                      <a:pt x="1586" y="1095"/>
                      <a:pt x="1586" y="1095"/>
                    </a:cubicBezTo>
                    <a:lnTo>
                      <a:pt x="966" y="1095"/>
                    </a:lnTo>
                    <a:close/>
                    <a:moveTo>
                      <a:pt x="1333" y="941"/>
                    </a:moveTo>
                    <a:cubicBezTo>
                      <a:pt x="1576" y="839"/>
                      <a:pt x="1576" y="839"/>
                      <a:pt x="1576" y="839"/>
                    </a:cubicBezTo>
                    <a:cubicBezTo>
                      <a:pt x="1659" y="1078"/>
                      <a:pt x="1659" y="1078"/>
                      <a:pt x="1659" y="1078"/>
                    </a:cubicBezTo>
                    <a:lnTo>
                      <a:pt x="1333" y="941"/>
                    </a:lnTo>
                    <a:close/>
                    <a:moveTo>
                      <a:pt x="747" y="1086"/>
                    </a:moveTo>
                    <a:cubicBezTo>
                      <a:pt x="437" y="1086"/>
                      <a:pt x="437" y="1086"/>
                      <a:pt x="437" y="1086"/>
                    </a:cubicBezTo>
                    <a:cubicBezTo>
                      <a:pt x="427" y="1086"/>
                      <a:pt x="419" y="1079"/>
                      <a:pt x="416" y="1069"/>
                    </a:cubicBezTo>
                    <a:cubicBezTo>
                      <a:pt x="414" y="1059"/>
                      <a:pt x="418" y="1049"/>
                      <a:pt x="427" y="1044"/>
                    </a:cubicBezTo>
                    <a:cubicBezTo>
                      <a:pt x="506" y="1001"/>
                      <a:pt x="506" y="1001"/>
                      <a:pt x="506" y="1001"/>
                    </a:cubicBezTo>
                    <a:cubicBezTo>
                      <a:pt x="506" y="987"/>
                      <a:pt x="506" y="987"/>
                      <a:pt x="506" y="987"/>
                    </a:cubicBezTo>
                    <a:cubicBezTo>
                      <a:pt x="22" y="987"/>
                      <a:pt x="22" y="987"/>
                      <a:pt x="22" y="987"/>
                    </a:cubicBezTo>
                    <a:cubicBezTo>
                      <a:pt x="9" y="987"/>
                      <a:pt x="0" y="978"/>
                      <a:pt x="0" y="965"/>
                    </a:cubicBezTo>
                    <a:cubicBezTo>
                      <a:pt x="0" y="329"/>
                      <a:pt x="0" y="329"/>
                      <a:pt x="0" y="329"/>
                    </a:cubicBezTo>
                    <a:cubicBezTo>
                      <a:pt x="0" y="317"/>
                      <a:pt x="9" y="307"/>
                      <a:pt x="22" y="307"/>
                    </a:cubicBezTo>
                    <a:cubicBezTo>
                      <a:pt x="1066" y="307"/>
                      <a:pt x="1066" y="307"/>
                      <a:pt x="1066" y="307"/>
                    </a:cubicBezTo>
                    <a:cubicBezTo>
                      <a:pt x="1051" y="351"/>
                      <a:pt x="1051" y="351"/>
                      <a:pt x="1051" y="351"/>
                    </a:cubicBezTo>
                    <a:cubicBezTo>
                      <a:pt x="44" y="351"/>
                      <a:pt x="44" y="351"/>
                      <a:pt x="44" y="351"/>
                    </a:cubicBezTo>
                    <a:cubicBezTo>
                      <a:pt x="44" y="943"/>
                      <a:pt x="44" y="943"/>
                      <a:pt x="44" y="943"/>
                    </a:cubicBezTo>
                    <a:cubicBezTo>
                      <a:pt x="528" y="943"/>
                      <a:pt x="528" y="943"/>
                      <a:pt x="528" y="943"/>
                    </a:cubicBezTo>
                    <a:cubicBezTo>
                      <a:pt x="540" y="943"/>
                      <a:pt x="550" y="953"/>
                      <a:pt x="550" y="965"/>
                    </a:cubicBezTo>
                    <a:cubicBezTo>
                      <a:pt x="550" y="1014"/>
                      <a:pt x="550" y="1014"/>
                      <a:pt x="550" y="1014"/>
                    </a:cubicBezTo>
                    <a:cubicBezTo>
                      <a:pt x="550" y="1022"/>
                      <a:pt x="546" y="1029"/>
                      <a:pt x="539" y="1033"/>
                    </a:cubicBezTo>
                    <a:cubicBezTo>
                      <a:pt x="523" y="1042"/>
                      <a:pt x="523" y="1042"/>
                      <a:pt x="523" y="1042"/>
                    </a:cubicBezTo>
                    <a:cubicBezTo>
                      <a:pt x="661" y="1042"/>
                      <a:pt x="661" y="1042"/>
                      <a:pt x="661" y="1042"/>
                    </a:cubicBezTo>
                    <a:cubicBezTo>
                      <a:pt x="646" y="1033"/>
                      <a:pt x="646" y="1033"/>
                      <a:pt x="646" y="1033"/>
                    </a:cubicBezTo>
                    <a:cubicBezTo>
                      <a:pt x="639" y="1029"/>
                      <a:pt x="634" y="1022"/>
                      <a:pt x="634" y="1014"/>
                    </a:cubicBezTo>
                    <a:cubicBezTo>
                      <a:pt x="634" y="965"/>
                      <a:pt x="634" y="965"/>
                      <a:pt x="634" y="965"/>
                    </a:cubicBezTo>
                    <a:cubicBezTo>
                      <a:pt x="634" y="953"/>
                      <a:pt x="644" y="943"/>
                      <a:pt x="656" y="943"/>
                    </a:cubicBezTo>
                    <a:cubicBezTo>
                      <a:pt x="847" y="943"/>
                      <a:pt x="847" y="943"/>
                      <a:pt x="847" y="943"/>
                    </a:cubicBezTo>
                    <a:cubicBezTo>
                      <a:pt x="832" y="987"/>
                      <a:pt x="832" y="987"/>
                      <a:pt x="832" y="987"/>
                    </a:cubicBezTo>
                    <a:cubicBezTo>
                      <a:pt x="678" y="987"/>
                      <a:pt x="678" y="987"/>
                      <a:pt x="678" y="987"/>
                    </a:cubicBezTo>
                    <a:cubicBezTo>
                      <a:pt x="678" y="1001"/>
                      <a:pt x="678" y="1001"/>
                      <a:pt x="678" y="1001"/>
                    </a:cubicBezTo>
                    <a:cubicBezTo>
                      <a:pt x="758" y="1044"/>
                      <a:pt x="758" y="1044"/>
                      <a:pt x="758" y="1044"/>
                    </a:cubicBezTo>
                    <a:cubicBezTo>
                      <a:pt x="767" y="1049"/>
                      <a:pt x="771" y="1059"/>
                      <a:pt x="768" y="1069"/>
                    </a:cubicBezTo>
                    <a:cubicBezTo>
                      <a:pt x="766" y="1079"/>
                      <a:pt x="757" y="1086"/>
                      <a:pt x="747" y="1086"/>
                    </a:cubicBezTo>
                    <a:close/>
                    <a:moveTo>
                      <a:pt x="2102" y="152"/>
                    </a:moveTo>
                    <a:cubicBezTo>
                      <a:pt x="2102" y="899"/>
                      <a:pt x="2102" y="899"/>
                      <a:pt x="2102" y="899"/>
                    </a:cubicBezTo>
                    <a:cubicBezTo>
                      <a:pt x="2102" y="943"/>
                      <a:pt x="2102" y="943"/>
                      <a:pt x="2102" y="943"/>
                    </a:cubicBezTo>
                    <a:cubicBezTo>
                      <a:pt x="2102" y="1063"/>
                      <a:pt x="2102" y="1063"/>
                      <a:pt x="2102" y="1063"/>
                    </a:cubicBezTo>
                    <a:cubicBezTo>
                      <a:pt x="2102" y="1076"/>
                      <a:pt x="2093" y="1085"/>
                      <a:pt x="2080" y="1085"/>
                    </a:cubicBezTo>
                    <a:cubicBezTo>
                      <a:pt x="1754" y="1085"/>
                      <a:pt x="1754" y="1085"/>
                      <a:pt x="1754" y="1085"/>
                    </a:cubicBezTo>
                    <a:cubicBezTo>
                      <a:pt x="1739" y="1041"/>
                      <a:pt x="1739" y="1041"/>
                      <a:pt x="1739" y="1041"/>
                    </a:cubicBezTo>
                    <a:cubicBezTo>
                      <a:pt x="2058" y="1041"/>
                      <a:pt x="2058" y="1041"/>
                      <a:pt x="2058" y="1041"/>
                    </a:cubicBezTo>
                    <a:cubicBezTo>
                      <a:pt x="2058" y="943"/>
                      <a:pt x="2058" y="943"/>
                      <a:pt x="2058" y="943"/>
                    </a:cubicBezTo>
                    <a:cubicBezTo>
                      <a:pt x="1705" y="943"/>
                      <a:pt x="1705" y="943"/>
                      <a:pt x="1705" y="943"/>
                    </a:cubicBezTo>
                    <a:cubicBezTo>
                      <a:pt x="1690" y="899"/>
                      <a:pt x="1690" y="899"/>
                      <a:pt x="1690" y="899"/>
                    </a:cubicBezTo>
                    <a:cubicBezTo>
                      <a:pt x="2058" y="899"/>
                      <a:pt x="2058" y="899"/>
                      <a:pt x="2058" y="899"/>
                    </a:cubicBezTo>
                    <a:cubicBezTo>
                      <a:pt x="2058" y="174"/>
                      <a:pt x="2058" y="174"/>
                      <a:pt x="2058" y="174"/>
                    </a:cubicBezTo>
                    <a:cubicBezTo>
                      <a:pt x="1634" y="174"/>
                      <a:pt x="1634" y="174"/>
                      <a:pt x="1634" y="174"/>
                    </a:cubicBezTo>
                    <a:cubicBezTo>
                      <a:pt x="1634" y="737"/>
                      <a:pt x="1634" y="737"/>
                      <a:pt x="1634" y="737"/>
                    </a:cubicBezTo>
                    <a:cubicBezTo>
                      <a:pt x="1590" y="609"/>
                      <a:pt x="1590" y="609"/>
                      <a:pt x="1590" y="609"/>
                    </a:cubicBezTo>
                    <a:cubicBezTo>
                      <a:pt x="1590" y="152"/>
                      <a:pt x="1590" y="152"/>
                      <a:pt x="1590" y="152"/>
                    </a:cubicBezTo>
                    <a:cubicBezTo>
                      <a:pt x="1590" y="140"/>
                      <a:pt x="1600" y="130"/>
                      <a:pt x="1612" y="130"/>
                    </a:cubicBezTo>
                    <a:cubicBezTo>
                      <a:pt x="2080" y="130"/>
                      <a:pt x="2080" y="130"/>
                      <a:pt x="2080" y="130"/>
                    </a:cubicBezTo>
                    <a:cubicBezTo>
                      <a:pt x="2093" y="130"/>
                      <a:pt x="2102" y="140"/>
                      <a:pt x="2102" y="15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35" name="Freeform 6">
                <a:extLst>
                  <a:ext uri="{FF2B5EF4-FFF2-40B4-BE49-F238E27FC236}">
                    <a16:creationId xmlns:a16="http://schemas.microsoft.com/office/drawing/2014/main" xmlns="" id="{53703EEB-3778-4795-B4C1-C3AE7F88E6C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002" y="416"/>
                <a:ext cx="3661" cy="2706"/>
              </a:xfrm>
              <a:custGeom>
                <a:avLst/>
                <a:gdLst>
                  <a:gd name="T0" fmla="*/ 1776 w 1954"/>
                  <a:gd name="T1" fmla="*/ 1443 h 1443"/>
                  <a:gd name="T2" fmla="*/ 1741 w 1954"/>
                  <a:gd name="T3" fmla="*/ 1408 h 1443"/>
                  <a:gd name="T4" fmla="*/ 1776 w 1954"/>
                  <a:gd name="T5" fmla="*/ 1372 h 1443"/>
                  <a:gd name="T6" fmla="*/ 1812 w 1954"/>
                  <a:gd name="T7" fmla="*/ 1408 h 1443"/>
                  <a:gd name="T8" fmla="*/ 1776 w 1954"/>
                  <a:gd name="T9" fmla="*/ 1443 h 1443"/>
                  <a:gd name="T10" fmla="*/ 1876 w 1954"/>
                  <a:gd name="T11" fmla="*/ 640 h 1443"/>
                  <a:gd name="T12" fmla="*/ 1854 w 1954"/>
                  <a:gd name="T13" fmla="*/ 618 h 1443"/>
                  <a:gd name="T14" fmla="*/ 1699 w 1954"/>
                  <a:gd name="T15" fmla="*/ 618 h 1443"/>
                  <a:gd name="T16" fmla="*/ 1677 w 1954"/>
                  <a:gd name="T17" fmla="*/ 640 h 1443"/>
                  <a:gd name="T18" fmla="*/ 1699 w 1954"/>
                  <a:gd name="T19" fmla="*/ 662 h 1443"/>
                  <a:gd name="T20" fmla="*/ 1854 w 1954"/>
                  <a:gd name="T21" fmla="*/ 662 h 1443"/>
                  <a:gd name="T22" fmla="*/ 1876 w 1954"/>
                  <a:gd name="T23" fmla="*/ 640 h 1443"/>
                  <a:gd name="T24" fmla="*/ 971 w 1954"/>
                  <a:gd name="T25" fmla="*/ 801 h 1443"/>
                  <a:gd name="T26" fmla="*/ 10 w 1954"/>
                  <a:gd name="T27" fmla="*/ 801 h 1443"/>
                  <a:gd name="T28" fmla="*/ 0 w 1954"/>
                  <a:gd name="T29" fmla="*/ 811 h 1443"/>
                  <a:gd name="T30" fmla="*/ 0 w 1954"/>
                  <a:gd name="T31" fmla="*/ 1322 h 1443"/>
                  <a:gd name="T32" fmla="*/ 10 w 1954"/>
                  <a:gd name="T33" fmla="*/ 1332 h 1443"/>
                  <a:gd name="T34" fmla="*/ 787 w 1954"/>
                  <a:gd name="T35" fmla="*/ 1332 h 1443"/>
                  <a:gd name="T36" fmla="*/ 971 w 1954"/>
                  <a:gd name="T37" fmla="*/ 801 h 1443"/>
                  <a:gd name="T38" fmla="*/ 1206 w 1954"/>
                  <a:gd name="T39" fmla="*/ 235 h 1443"/>
                  <a:gd name="T40" fmla="*/ 1129 w 1954"/>
                  <a:gd name="T41" fmla="*/ 312 h 1443"/>
                  <a:gd name="T42" fmla="*/ 1206 w 1954"/>
                  <a:gd name="T43" fmla="*/ 390 h 1443"/>
                  <a:gd name="T44" fmla="*/ 1284 w 1954"/>
                  <a:gd name="T45" fmla="*/ 312 h 1443"/>
                  <a:gd name="T46" fmla="*/ 1206 w 1954"/>
                  <a:gd name="T47" fmla="*/ 235 h 1443"/>
                  <a:gd name="T48" fmla="*/ 1347 w 1954"/>
                  <a:gd name="T49" fmla="*/ 428 h 1443"/>
                  <a:gd name="T50" fmla="*/ 1389 w 1954"/>
                  <a:gd name="T51" fmla="*/ 312 h 1443"/>
                  <a:gd name="T52" fmla="*/ 1206 w 1954"/>
                  <a:gd name="T53" fmla="*/ 130 h 1443"/>
                  <a:gd name="T54" fmla="*/ 1024 w 1954"/>
                  <a:gd name="T55" fmla="*/ 312 h 1443"/>
                  <a:gd name="T56" fmla="*/ 1065 w 1954"/>
                  <a:gd name="T57" fmla="*/ 428 h 1443"/>
                  <a:gd name="T58" fmla="*/ 1096 w 1954"/>
                  <a:gd name="T59" fmla="*/ 431 h 1443"/>
                  <a:gd name="T60" fmla="*/ 1099 w 1954"/>
                  <a:gd name="T61" fmla="*/ 400 h 1443"/>
                  <a:gd name="T62" fmla="*/ 1068 w 1954"/>
                  <a:gd name="T63" fmla="*/ 312 h 1443"/>
                  <a:gd name="T64" fmla="*/ 1206 w 1954"/>
                  <a:gd name="T65" fmla="*/ 174 h 1443"/>
                  <a:gd name="T66" fmla="*/ 1345 w 1954"/>
                  <a:gd name="T67" fmla="*/ 312 h 1443"/>
                  <a:gd name="T68" fmla="*/ 1313 w 1954"/>
                  <a:gd name="T69" fmla="*/ 400 h 1443"/>
                  <a:gd name="T70" fmla="*/ 1316 w 1954"/>
                  <a:gd name="T71" fmla="*/ 431 h 1443"/>
                  <a:gd name="T72" fmla="*/ 1330 w 1954"/>
                  <a:gd name="T73" fmla="*/ 436 h 1443"/>
                  <a:gd name="T74" fmla="*/ 1347 w 1954"/>
                  <a:gd name="T75" fmla="*/ 428 h 1443"/>
                  <a:gd name="T76" fmla="*/ 1429 w 1954"/>
                  <a:gd name="T77" fmla="*/ 538 h 1443"/>
                  <a:gd name="T78" fmla="*/ 1522 w 1954"/>
                  <a:gd name="T79" fmla="*/ 315 h 1443"/>
                  <a:gd name="T80" fmla="*/ 1206 w 1954"/>
                  <a:gd name="T81" fmla="*/ 0 h 1443"/>
                  <a:gd name="T82" fmla="*/ 891 w 1954"/>
                  <a:gd name="T83" fmla="*/ 315 h 1443"/>
                  <a:gd name="T84" fmla="*/ 981 w 1954"/>
                  <a:gd name="T85" fmla="*/ 536 h 1443"/>
                  <a:gd name="T86" fmla="*/ 1012 w 1954"/>
                  <a:gd name="T87" fmla="*/ 536 h 1443"/>
                  <a:gd name="T88" fmla="*/ 1013 w 1954"/>
                  <a:gd name="T89" fmla="*/ 505 h 1443"/>
                  <a:gd name="T90" fmla="*/ 935 w 1954"/>
                  <a:gd name="T91" fmla="*/ 315 h 1443"/>
                  <a:gd name="T92" fmla="*/ 1206 w 1954"/>
                  <a:gd name="T93" fmla="*/ 44 h 1443"/>
                  <a:gd name="T94" fmla="*/ 1478 w 1954"/>
                  <a:gd name="T95" fmla="*/ 315 h 1443"/>
                  <a:gd name="T96" fmla="*/ 1398 w 1954"/>
                  <a:gd name="T97" fmla="*/ 507 h 1443"/>
                  <a:gd name="T98" fmla="*/ 1398 w 1954"/>
                  <a:gd name="T99" fmla="*/ 538 h 1443"/>
                  <a:gd name="T100" fmla="*/ 1414 w 1954"/>
                  <a:gd name="T101" fmla="*/ 544 h 1443"/>
                  <a:gd name="T102" fmla="*/ 1429 w 1954"/>
                  <a:gd name="T103" fmla="*/ 538 h 1443"/>
                  <a:gd name="T104" fmla="*/ 1944 w 1954"/>
                  <a:gd name="T105" fmla="*/ 694 h 1443"/>
                  <a:gd name="T106" fmla="*/ 1606 w 1954"/>
                  <a:gd name="T107" fmla="*/ 694 h 1443"/>
                  <a:gd name="T108" fmla="*/ 1596 w 1954"/>
                  <a:gd name="T109" fmla="*/ 704 h 1443"/>
                  <a:gd name="T110" fmla="*/ 1596 w 1954"/>
                  <a:gd name="T111" fmla="*/ 1249 h 1443"/>
                  <a:gd name="T112" fmla="*/ 1609 w 1954"/>
                  <a:gd name="T113" fmla="*/ 1286 h 1443"/>
                  <a:gd name="T114" fmla="*/ 1944 w 1954"/>
                  <a:gd name="T115" fmla="*/ 1286 h 1443"/>
                  <a:gd name="T116" fmla="*/ 1954 w 1954"/>
                  <a:gd name="T117" fmla="*/ 1276 h 1443"/>
                  <a:gd name="T118" fmla="*/ 1954 w 1954"/>
                  <a:gd name="T119" fmla="*/ 704 h 1443"/>
                  <a:gd name="T120" fmla="*/ 1944 w 1954"/>
                  <a:gd name="T121" fmla="*/ 694 h 14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954" h="1443">
                    <a:moveTo>
                      <a:pt x="1776" y="1443"/>
                    </a:moveTo>
                    <a:cubicBezTo>
                      <a:pt x="1757" y="1443"/>
                      <a:pt x="1741" y="1427"/>
                      <a:pt x="1741" y="1408"/>
                    </a:cubicBezTo>
                    <a:cubicBezTo>
                      <a:pt x="1741" y="1388"/>
                      <a:pt x="1757" y="1372"/>
                      <a:pt x="1776" y="1372"/>
                    </a:cubicBezTo>
                    <a:cubicBezTo>
                      <a:pt x="1796" y="1372"/>
                      <a:pt x="1812" y="1388"/>
                      <a:pt x="1812" y="1408"/>
                    </a:cubicBezTo>
                    <a:cubicBezTo>
                      <a:pt x="1812" y="1427"/>
                      <a:pt x="1796" y="1443"/>
                      <a:pt x="1776" y="1443"/>
                    </a:cubicBezTo>
                    <a:close/>
                    <a:moveTo>
                      <a:pt x="1876" y="640"/>
                    </a:moveTo>
                    <a:cubicBezTo>
                      <a:pt x="1876" y="628"/>
                      <a:pt x="1866" y="618"/>
                      <a:pt x="1854" y="618"/>
                    </a:cubicBezTo>
                    <a:cubicBezTo>
                      <a:pt x="1699" y="618"/>
                      <a:pt x="1699" y="618"/>
                      <a:pt x="1699" y="618"/>
                    </a:cubicBezTo>
                    <a:cubicBezTo>
                      <a:pt x="1687" y="618"/>
                      <a:pt x="1677" y="628"/>
                      <a:pt x="1677" y="640"/>
                    </a:cubicBezTo>
                    <a:cubicBezTo>
                      <a:pt x="1677" y="652"/>
                      <a:pt x="1687" y="662"/>
                      <a:pt x="1699" y="662"/>
                    </a:cubicBezTo>
                    <a:cubicBezTo>
                      <a:pt x="1854" y="662"/>
                      <a:pt x="1854" y="662"/>
                      <a:pt x="1854" y="662"/>
                    </a:cubicBezTo>
                    <a:cubicBezTo>
                      <a:pt x="1866" y="662"/>
                      <a:pt x="1876" y="652"/>
                      <a:pt x="1876" y="640"/>
                    </a:cubicBezTo>
                    <a:close/>
                    <a:moveTo>
                      <a:pt x="971" y="801"/>
                    </a:moveTo>
                    <a:cubicBezTo>
                      <a:pt x="10" y="801"/>
                      <a:pt x="10" y="801"/>
                      <a:pt x="10" y="801"/>
                    </a:cubicBezTo>
                    <a:cubicBezTo>
                      <a:pt x="5" y="801"/>
                      <a:pt x="0" y="805"/>
                      <a:pt x="0" y="811"/>
                    </a:cubicBezTo>
                    <a:cubicBezTo>
                      <a:pt x="0" y="1322"/>
                      <a:pt x="0" y="1322"/>
                      <a:pt x="0" y="1322"/>
                    </a:cubicBezTo>
                    <a:cubicBezTo>
                      <a:pt x="0" y="1328"/>
                      <a:pt x="5" y="1332"/>
                      <a:pt x="10" y="1332"/>
                    </a:cubicBezTo>
                    <a:cubicBezTo>
                      <a:pt x="787" y="1332"/>
                      <a:pt x="787" y="1332"/>
                      <a:pt x="787" y="1332"/>
                    </a:cubicBezTo>
                    <a:lnTo>
                      <a:pt x="971" y="801"/>
                    </a:lnTo>
                    <a:close/>
                    <a:moveTo>
                      <a:pt x="1206" y="235"/>
                    </a:moveTo>
                    <a:cubicBezTo>
                      <a:pt x="1163" y="235"/>
                      <a:pt x="1129" y="270"/>
                      <a:pt x="1129" y="312"/>
                    </a:cubicBezTo>
                    <a:cubicBezTo>
                      <a:pt x="1129" y="355"/>
                      <a:pt x="1163" y="390"/>
                      <a:pt x="1206" y="390"/>
                    </a:cubicBezTo>
                    <a:cubicBezTo>
                      <a:pt x="1249" y="390"/>
                      <a:pt x="1284" y="355"/>
                      <a:pt x="1284" y="312"/>
                    </a:cubicBezTo>
                    <a:cubicBezTo>
                      <a:pt x="1284" y="270"/>
                      <a:pt x="1249" y="235"/>
                      <a:pt x="1206" y="235"/>
                    </a:cubicBezTo>
                    <a:moveTo>
                      <a:pt x="1347" y="428"/>
                    </a:moveTo>
                    <a:cubicBezTo>
                      <a:pt x="1374" y="395"/>
                      <a:pt x="1389" y="354"/>
                      <a:pt x="1389" y="312"/>
                    </a:cubicBezTo>
                    <a:cubicBezTo>
                      <a:pt x="1389" y="212"/>
                      <a:pt x="1307" y="130"/>
                      <a:pt x="1206" y="130"/>
                    </a:cubicBezTo>
                    <a:cubicBezTo>
                      <a:pt x="1106" y="130"/>
                      <a:pt x="1024" y="212"/>
                      <a:pt x="1024" y="312"/>
                    </a:cubicBezTo>
                    <a:cubicBezTo>
                      <a:pt x="1024" y="354"/>
                      <a:pt x="1038" y="395"/>
                      <a:pt x="1065" y="428"/>
                    </a:cubicBezTo>
                    <a:cubicBezTo>
                      <a:pt x="1073" y="437"/>
                      <a:pt x="1087" y="439"/>
                      <a:pt x="1096" y="431"/>
                    </a:cubicBezTo>
                    <a:cubicBezTo>
                      <a:pt x="1105" y="423"/>
                      <a:pt x="1107" y="409"/>
                      <a:pt x="1099" y="400"/>
                    </a:cubicBezTo>
                    <a:cubicBezTo>
                      <a:pt x="1079" y="375"/>
                      <a:pt x="1068" y="344"/>
                      <a:pt x="1068" y="312"/>
                    </a:cubicBezTo>
                    <a:cubicBezTo>
                      <a:pt x="1068" y="236"/>
                      <a:pt x="1130" y="174"/>
                      <a:pt x="1206" y="174"/>
                    </a:cubicBezTo>
                    <a:cubicBezTo>
                      <a:pt x="1283" y="174"/>
                      <a:pt x="1345" y="236"/>
                      <a:pt x="1345" y="312"/>
                    </a:cubicBezTo>
                    <a:cubicBezTo>
                      <a:pt x="1345" y="344"/>
                      <a:pt x="1334" y="375"/>
                      <a:pt x="1313" y="400"/>
                    </a:cubicBezTo>
                    <a:cubicBezTo>
                      <a:pt x="1306" y="409"/>
                      <a:pt x="1307" y="423"/>
                      <a:pt x="1316" y="431"/>
                    </a:cubicBezTo>
                    <a:cubicBezTo>
                      <a:pt x="1320" y="434"/>
                      <a:pt x="1325" y="436"/>
                      <a:pt x="1330" y="436"/>
                    </a:cubicBezTo>
                    <a:cubicBezTo>
                      <a:pt x="1337" y="436"/>
                      <a:pt x="1343" y="433"/>
                      <a:pt x="1347" y="428"/>
                    </a:cubicBezTo>
                    <a:close/>
                    <a:moveTo>
                      <a:pt x="1429" y="538"/>
                    </a:moveTo>
                    <a:cubicBezTo>
                      <a:pt x="1489" y="478"/>
                      <a:pt x="1522" y="399"/>
                      <a:pt x="1522" y="315"/>
                    </a:cubicBezTo>
                    <a:cubicBezTo>
                      <a:pt x="1522" y="141"/>
                      <a:pt x="1380" y="0"/>
                      <a:pt x="1206" y="0"/>
                    </a:cubicBezTo>
                    <a:cubicBezTo>
                      <a:pt x="1032" y="0"/>
                      <a:pt x="891" y="141"/>
                      <a:pt x="891" y="315"/>
                    </a:cubicBezTo>
                    <a:cubicBezTo>
                      <a:pt x="891" y="398"/>
                      <a:pt x="923" y="477"/>
                      <a:pt x="981" y="536"/>
                    </a:cubicBezTo>
                    <a:cubicBezTo>
                      <a:pt x="990" y="545"/>
                      <a:pt x="1004" y="545"/>
                      <a:pt x="1012" y="536"/>
                    </a:cubicBezTo>
                    <a:cubicBezTo>
                      <a:pt x="1021" y="528"/>
                      <a:pt x="1021" y="514"/>
                      <a:pt x="1013" y="505"/>
                    </a:cubicBezTo>
                    <a:cubicBezTo>
                      <a:pt x="963" y="454"/>
                      <a:pt x="935" y="386"/>
                      <a:pt x="935" y="315"/>
                    </a:cubicBezTo>
                    <a:cubicBezTo>
                      <a:pt x="935" y="165"/>
                      <a:pt x="1057" y="44"/>
                      <a:pt x="1206" y="44"/>
                    </a:cubicBezTo>
                    <a:cubicBezTo>
                      <a:pt x="1356" y="44"/>
                      <a:pt x="1478" y="165"/>
                      <a:pt x="1478" y="315"/>
                    </a:cubicBezTo>
                    <a:cubicBezTo>
                      <a:pt x="1478" y="387"/>
                      <a:pt x="1449" y="455"/>
                      <a:pt x="1398" y="507"/>
                    </a:cubicBezTo>
                    <a:cubicBezTo>
                      <a:pt x="1389" y="515"/>
                      <a:pt x="1389" y="529"/>
                      <a:pt x="1398" y="538"/>
                    </a:cubicBezTo>
                    <a:cubicBezTo>
                      <a:pt x="1402" y="542"/>
                      <a:pt x="1408" y="544"/>
                      <a:pt x="1414" y="544"/>
                    </a:cubicBezTo>
                    <a:cubicBezTo>
                      <a:pt x="1419" y="544"/>
                      <a:pt x="1425" y="542"/>
                      <a:pt x="1429" y="538"/>
                    </a:cubicBezTo>
                    <a:close/>
                    <a:moveTo>
                      <a:pt x="1944" y="694"/>
                    </a:moveTo>
                    <a:cubicBezTo>
                      <a:pt x="1606" y="694"/>
                      <a:pt x="1606" y="694"/>
                      <a:pt x="1606" y="694"/>
                    </a:cubicBezTo>
                    <a:cubicBezTo>
                      <a:pt x="1601" y="694"/>
                      <a:pt x="1596" y="699"/>
                      <a:pt x="1596" y="704"/>
                    </a:cubicBezTo>
                    <a:cubicBezTo>
                      <a:pt x="1596" y="1249"/>
                      <a:pt x="1596" y="1249"/>
                      <a:pt x="1596" y="1249"/>
                    </a:cubicBezTo>
                    <a:cubicBezTo>
                      <a:pt x="1609" y="1286"/>
                      <a:pt x="1609" y="1286"/>
                      <a:pt x="1609" y="1286"/>
                    </a:cubicBezTo>
                    <a:cubicBezTo>
                      <a:pt x="1944" y="1286"/>
                      <a:pt x="1944" y="1286"/>
                      <a:pt x="1944" y="1286"/>
                    </a:cubicBezTo>
                    <a:cubicBezTo>
                      <a:pt x="1949" y="1286"/>
                      <a:pt x="1954" y="1282"/>
                      <a:pt x="1954" y="1276"/>
                    </a:cubicBezTo>
                    <a:cubicBezTo>
                      <a:pt x="1954" y="704"/>
                      <a:pt x="1954" y="704"/>
                      <a:pt x="1954" y="704"/>
                    </a:cubicBezTo>
                    <a:cubicBezTo>
                      <a:pt x="1954" y="699"/>
                      <a:pt x="1949" y="694"/>
                      <a:pt x="1944" y="694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</p:grpSp>
      </p:grpSp>
      <p:grpSp>
        <p:nvGrpSpPr>
          <p:cNvPr id="36" name="Group 35"/>
          <p:cNvGrpSpPr/>
          <p:nvPr/>
        </p:nvGrpSpPr>
        <p:grpSpPr>
          <a:xfrm>
            <a:off x="5383758" y="1546170"/>
            <a:ext cx="229628" cy="2958525"/>
            <a:chOff x="5942914" y="2060923"/>
            <a:chExt cx="306171" cy="3943483"/>
          </a:xfrm>
        </p:grpSpPr>
        <p:cxnSp>
          <p:nvCxnSpPr>
            <p:cNvPr id="37" name="Straight Connector 36"/>
            <p:cNvCxnSpPr/>
            <p:nvPr/>
          </p:nvCxnSpPr>
          <p:spPr>
            <a:xfrm>
              <a:off x="6090649" y="2060923"/>
              <a:ext cx="0" cy="3943483"/>
            </a:xfrm>
            <a:prstGeom prst="line">
              <a:avLst/>
            </a:prstGeom>
            <a:ln w="19050" cap="rnd">
              <a:solidFill>
                <a:srgbClr val="9A9A9A"/>
              </a:solidFill>
              <a:prstDash val="soli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8" name="Group 37"/>
            <p:cNvGrpSpPr/>
            <p:nvPr/>
          </p:nvGrpSpPr>
          <p:grpSpPr>
            <a:xfrm>
              <a:off x="5942914" y="3833745"/>
              <a:ext cx="306171" cy="306910"/>
              <a:chOff x="5942914" y="3833745"/>
              <a:chExt cx="306171" cy="306910"/>
            </a:xfrm>
          </p:grpSpPr>
          <p:sp>
            <p:nvSpPr>
              <p:cNvPr id="39" name="Freeform 94"/>
              <p:cNvSpPr>
                <a:spLocks/>
              </p:cNvSpPr>
              <p:nvPr/>
            </p:nvSpPr>
            <p:spPr bwMode="gray">
              <a:xfrm>
                <a:off x="5942914" y="3833745"/>
                <a:ext cx="306171" cy="306910"/>
              </a:xfrm>
              <a:custGeom>
                <a:avLst/>
                <a:gdLst>
                  <a:gd name="T0" fmla="*/ 0 w 1052"/>
                  <a:gd name="T1" fmla="*/ 526 h 1052"/>
                  <a:gd name="T2" fmla="*/ 0 w 1052"/>
                  <a:gd name="T3" fmla="*/ 526 h 1052"/>
                  <a:gd name="T4" fmla="*/ 526 w 1052"/>
                  <a:gd name="T5" fmla="*/ 0 h 1052"/>
                  <a:gd name="T6" fmla="*/ 1052 w 1052"/>
                  <a:gd name="T7" fmla="*/ 526 h 1052"/>
                  <a:gd name="T8" fmla="*/ 1052 w 1052"/>
                  <a:gd name="T9" fmla="*/ 526 h 1052"/>
                  <a:gd name="T10" fmla="*/ 526 w 1052"/>
                  <a:gd name="T11" fmla="*/ 1052 h 1052"/>
                  <a:gd name="T12" fmla="*/ 526 w 1052"/>
                  <a:gd name="T13" fmla="*/ 1052 h 1052"/>
                  <a:gd name="T14" fmla="*/ 0 w 1052"/>
                  <a:gd name="T15" fmla="*/ 526 h 105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52" h="1052">
                    <a:moveTo>
                      <a:pt x="0" y="526"/>
                    </a:moveTo>
                    <a:cubicBezTo>
                      <a:pt x="0" y="526"/>
                      <a:pt x="0" y="526"/>
                      <a:pt x="0" y="526"/>
                    </a:cubicBezTo>
                    <a:cubicBezTo>
                      <a:pt x="0" y="236"/>
                      <a:pt x="236" y="0"/>
                      <a:pt x="526" y="0"/>
                    </a:cubicBezTo>
                    <a:cubicBezTo>
                      <a:pt x="817" y="0"/>
                      <a:pt x="1052" y="236"/>
                      <a:pt x="1052" y="526"/>
                    </a:cubicBezTo>
                    <a:cubicBezTo>
                      <a:pt x="1052" y="526"/>
                      <a:pt x="1052" y="526"/>
                      <a:pt x="1052" y="526"/>
                    </a:cubicBezTo>
                    <a:cubicBezTo>
                      <a:pt x="1052" y="817"/>
                      <a:pt x="817" y="1052"/>
                      <a:pt x="526" y="1052"/>
                    </a:cubicBezTo>
                    <a:cubicBezTo>
                      <a:pt x="526" y="1052"/>
                      <a:pt x="526" y="1052"/>
                      <a:pt x="526" y="1052"/>
                    </a:cubicBezTo>
                    <a:cubicBezTo>
                      <a:pt x="236" y="1052"/>
                      <a:pt x="0" y="817"/>
                      <a:pt x="0" y="526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solidFill>
                  <a:schemeClr val="tx2"/>
                </a:solidFill>
              </a:ln>
              <a:extLst/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6E6F73"/>
                  </a:solidFill>
                </a:endParaRPr>
              </a:p>
            </p:txBody>
          </p:sp>
          <p:sp>
            <p:nvSpPr>
              <p:cNvPr id="40" name="Freeform 95"/>
              <p:cNvSpPr>
                <a:spLocks/>
              </p:cNvSpPr>
              <p:nvPr/>
            </p:nvSpPr>
            <p:spPr bwMode="gray">
              <a:xfrm>
                <a:off x="6059345" y="3876005"/>
                <a:ext cx="120251" cy="224731"/>
              </a:xfrm>
              <a:custGeom>
                <a:avLst/>
                <a:gdLst>
                  <a:gd name="T0" fmla="*/ 66 w 976"/>
                  <a:gd name="T1" fmla="*/ 1824 h 1824"/>
                  <a:gd name="T2" fmla="*/ 0 w 976"/>
                  <a:gd name="T3" fmla="*/ 1758 h 1824"/>
                  <a:gd name="T4" fmla="*/ 843 w 976"/>
                  <a:gd name="T5" fmla="*/ 912 h 1824"/>
                  <a:gd name="T6" fmla="*/ 0 w 976"/>
                  <a:gd name="T7" fmla="*/ 66 h 1824"/>
                  <a:gd name="T8" fmla="*/ 66 w 976"/>
                  <a:gd name="T9" fmla="*/ 0 h 1824"/>
                  <a:gd name="T10" fmla="*/ 976 w 976"/>
                  <a:gd name="T11" fmla="*/ 912 h 1824"/>
                  <a:gd name="T12" fmla="*/ 66 w 976"/>
                  <a:gd name="T13" fmla="*/ 1824 h 182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976" h="1824">
                    <a:moveTo>
                      <a:pt x="66" y="1824"/>
                    </a:moveTo>
                    <a:lnTo>
                      <a:pt x="0" y="1758"/>
                    </a:lnTo>
                    <a:lnTo>
                      <a:pt x="843" y="912"/>
                    </a:lnTo>
                    <a:lnTo>
                      <a:pt x="0" y="66"/>
                    </a:lnTo>
                    <a:lnTo>
                      <a:pt x="66" y="0"/>
                    </a:lnTo>
                    <a:lnTo>
                      <a:pt x="976" y="912"/>
                    </a:lnTo>
                    <a:lnTo>
                      <a:pt x="66" y="1824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88641" tIns="44321" rIns="88641" bIns="44321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rgbClr val="6E6F73"/>
                  </a:solidFill>
                </a:endParaRPr>
              </a:p>
            </p:txBody>
          </p:sp>
        </p:grpSp>
      </p:grpSp>
      <p:cxnSp>
        <p:nvCxnSpPr>
          <p:cNvPr id="41" name="Straight Connector 40"/>
          <p:cNvCxnSpPr/>
          <p:nvPr/>
        </p:nvCxnSpPr>
        <p:spPr>
          <a:xfrm>
            <a:off x="764892" y="1554965"/>
            <a:ext cx="0" cy="1920840"/>
          </a:xfrm>
          <a:prstGeom prst="line">
            <a:avLst/>
          </a:prstGeom>
          <a:ln w="38100" cap="rnd">
            <a:solidFill>
              <a:schemeClr val="accent5"/>
            </a:solidFill>
            <a:prstDash val="solid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/>
          <p:cNvSpPr/>
          <p:nvPr/>
        </p:nvSpPr>
        <p:spPr>
          <a:xfrm>
            <a:off x="5629461" y="1558344"/>
            <a:ext cx="3198017" cy="176202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ru-RU" sz="1100" b="1" dirty="0" smtClean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Новый закон мог бы:</a:t>
            </a:r>
            <a:endParaRPr lang="ru-RU" sz="1100" b="1" dirty="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  <a:p>
            <a:pPr>
              <a:buSzPct val="100000"/>
              <a:buFont typeface="Trebuchet MS" panose="020B0603020202020204" pitchFamily="34" charset="0"/>
              <a:buChar char="​"/>
            </a:pPr>
            <a:endParaRPr lang="ru-RU" sz="1100" b="1" dirty="0">
              <a:solidFill>
                <a:schemeClr val="tx1">
                  <a:lumMod val="100000"/>
                </a:schemeClr>
              </a:solidFill>
              <a:latin typeface="Trebuchet MS" panose="020B0603020202020204" pitchFamily="34" charset="0"/>
            </a:endParaRPr>
          </a:p>
          <a:p>
            <a:pPr marL="243000" lvl="1" indent="-162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ru-RU" sz="1100" dirty="0" smtClean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Определить </a:t>
            </a:r>
            <a:r>
              <a:rPr lang="ru-RU" sz="11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нормы для всех отношений </a:t>
            </a:r>
            <a:r>
              <a:rPr lang="ru-RU" sz="1100" dirty="0" smtClean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внутри </a:t>
            </a:r>
            <a:r>
              <a:rPr lang="ru-RU" sz="11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инфокоммуникационной отрасли (включает сектор телекоммуникаций и медиа-сектор)</a:t>
            </a:r>
          </a:p>
          <a:p>
            <a:pPr marL="243000" lvl="1" indent="-162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•"/>
            </a:pPr>
            <a:r>
              <a:rPr lang="ru-RU" sz="11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Имеет более высокую юридическую значимость, нежели другие ФЗ</a:t>
            </a:r>
          </a:p>
          <a:p>
            <a:pPr marL="486000" lvl="2" indent="-162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–"/>
            </a:pPr>
            <a:r>
              <a:rPr lang="ru-RU" sz="11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Ключевой закон для индустрии</a:t>
            </a:r>
          </a:p>
          <a:p>
            <a:pPr marL="486000" lvl="2" indent="-162000">
              <a:buClr>
                <a:schemeClr val="tx2">
                  <a:lumMod val="100000"/>
                </a:schemeClr>
              </a:buClr>
              <a:buSzPct val="100000"/>
              <a:buFont typeface="Trebuchet MS" panose="020B0603020202020204" pitchFamily="34" charset="0"/>
              <a:buChar char="–"/>
            </a:pPr>
            <a:r>
              <a:rPr lang="ru-RU" sz="11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Дает вводные в смежные законы</a:t>
            </a:r>
          </a:p>
        </p:txBody>
      </p:sp>
      <p:sp>
        <p:nvSpPr>
          <p:cNvPr id="44" name="Rectangle 43"/>
          <p:cNvSpPr/>
          <p:nvPr/>
        </p:nvSpPr>
        <p:spPr>
          <a:xfrm>
            <a:off x="5731788" y="3580849"/>
            <a:ext cx="3095690" cy="56613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buSzPct val="100000"/>
              <a:buFont typeface="Trebuchet MS" panose="020B0603020202020204" pitchFamily="34" charset="0"/>
              <a:buChar char="​"/>
            </a:pPr>
            <a:r>
              <a:rPr lang="ru-RU" sz="11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rPr>
              <a:t>Техническое регулирование – детали взаимодействия, связанные с конкретными технологиями</a:t>
            </a:r>
          </a:p>
        </p:txBody>
      </p:sp>
      <p:cxnSp>
        <p:nvCxnSpPr>
          <p:cNvPr id="47" name="Straight Connector 46"/>
          <p:cNvCxnSpPr/>
          <p:nvPr/>
        </p:nvCxnSpPr>
        <p:spPr>
          <a:xfrm flipV="1">
            <a:off x="764892" y="3580848"/>
            <a:ext cx="0" cy="636492"/>
          </a:xfrm>
          <a:prstGeom prst="line">
            <a:avLst/>
          </a:prstGeom>
          <a:ln w="38100" cap="rnd">
            <a:solidFill>
              <a:schemeClr val="accent5"/>
            </a:solidFill>
            <a:prstDash val="solid"/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Rectangle 47"/>
          <p:cNvSpPr/>
          <p:nvPr/>
        </p:nvSpPr>
        <p:spPr>
          <a:xfrm>
            <a:off x="870799" y="1584283"/>
            <a:ext cx="2068515" cy="526298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pPr>
              <a:lnSpc>
                <a:spcPct val="90000"/>
              </a:lnSpc>
            </a:pPr>
            <a:r>
              <a:rPr lang="ru-RU" sz="1100" b="1" dirty="0" smtClean="0">
                <a:solidFill>
                  <a:srgbClr val="29BA74"/>
                </a:solidFill>
              </a:rPr>
              <a:t>Законодательство в </a:t>
            </a:r>
          </a:p>
          <a:p>
            <a:pPr>
              <a:lnSpc>
                <a:spcPct val="90000"/>
              </a:lnSpc>
            </a:pPr>
            <a:r>
              <a:rPr lang="ru-RU" sz="1100" b="1" dirty="0" smtClean="0">
                <a:solidFill>
                  <a:srgbClr val="29BA74"/>
                </a:solidFill>
              </a:rPr>
              <a:t>информационной и</a:t>
            </a:r>
          </a:p>
          <a:p>
            <a:pPr>
              <a:lnSpc>
                <a:spcPct val="90000"/>
              </a:lnSpc>
            </a:pPr>
            <a:r>
              <a:rPr lang="ru-RU" sz="1100" b="1" dirty="0" smtClean="0">
                <a:solidFill>
                  <a:srgbClr val="29BA74"/>
                </a:solidFill>
              </a:rPr>
              <a:t>коммуникационной сферах</a:t>
            </a:r>
            <a:endParaRPr lang="ru-RU" sz="1100" b="1" dirty="0">
              <a:solidFill>
                <a:srgbClr val="29BA74"/>
              </a:solidFill>
            </a:endParaRPr>
          </a:p>
        </p:txBody>
      </p:sp>
      <p:sp>
        <p:nvSpPr>
          <p:cNvPr id="49" name="Rectangle 48"/>
          <p:cNvSpPr/>
          <p:nvPr/>
        </p:nvSpPr>
        <p:spPr>
          <a:xfrm rot="16200000">
            <a:off x="-2836" y="3746745"/>
            <a:ext cx="1091304" cy="3046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1100" dirty="0">
                <a:solidFill>
                  <a:srgbClr val="575757"/>
                </a:solidFill>
              </a:rPr>
              <a:t>Техническое регулирование</a:t>
            </a:r>
          </a:p>
        </p:txBody>
      </p:sp>
      <p:sp>
        <p:nvSpPr>
          <p:cNvPr id="59" name="Isosceles Triangle 58"/>
          <p:cNvSpPr/>
          <p:nvPr/>
        </p:nvSpPr>
        <p:spPr>
          <a:xfrm>
            <a:off x="2785025" y="2051174"/>
            <a:ext cx="810000" cy="675208"/>
          </a:xfrm>
          <a:prstGeom prst="triangle">
            <a:avLst/>
          </a:prstGeom>
          <a:noFill/>
          <a:ln w="19050" cap="rnd" cmpd="sng" algn="ctr">
            <a:solidFill>
              <a:srgbClr val="9A9A9A"/>
            </a:solidFill>
            <a:prstDash val="sysDot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 anchorCtr="0"/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endParaRPr lang="ru-RU" sz="900" dirty="0" err="1">
              <a:solidFill>
                <a:srgbClr val="FFFFFF"/>
              </a:solidFill>
            </a:endParaRPr>
          </a:p>
        </p:txBody>
      </p:sp>
      <p:grpSp>
        <p:nvGrpSpPr>
          <p:cNvPr id="64" name="bcgIcons_MaleFront">
            <a:extLst>
              <a:ext uri="{FF2B5EF4-FFF2-40B4-BE49-F238E27FC236}">
                <a16:creationId xmlns:a16="http://schemas.microsoft.com/office/drawing/2014/main" xmlns="" id="{D48F66C1-6980-4112-B398-A606001F50E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971194" y="2308739"/>
            <a:ext cx="422339" cy="422861"/>
            <a:chOff x="1682" y="0"/>
            <a:chExt cx="4316" cy="4320"/>
          </a:xfrm>
        </p:grpSpPr>
        <p:sp>
          <p:nvSpPr>
            <p:cNvPr id="65" name="AutoShape 3">
              <a:extLst>
                <a:ext uri="{FF2B5EF4-FFF2-40B4-BE49-F238E27FC236}">
                  <a16:creationId xmlns:a16="http://schemas.microsoft.com/office/drawing/2014/main" xmlns="" id="{FBC2143A-12AB-4F12-8447-A4DCA64D452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6" name="Freeform 5">
              <a:extLst>
                <a:ext uri="{FF2B5EF4-FFF2-40B4-BE49-F238E27FC236}">
                  <a16:creationId xmlns:a16="http://schemas.microsoft.com/office/drawing/2014/main" xmlns="" id="{EB6E2F05-10BF-4ED6-B296-BED2278AC841}"/>
                </a:ext>
              </a:extLst>
            </p:cNvPr>
            <p:cNvSpPr>
              <a:spLocks/>
            </p:cNvSpPr>
            <p:nvPr/>
          </p:nvSpPr>
          <p:spPr bwMode="auto">
            <a:xfrm>
              <a:off x="2952" y="519"/>
              <a:ext cx="1772" cy="1354"/>
            </a:xfrm>
            <a:custGeom>
              <a:avLst/>
              <a:gdLst>
                <a:gd name="T0" fmla="*/ 945 w 946"/>
                <a:gd name="T1" fmla="*/ 483 h 722"/>
                <a:gd name="T2" fmla="*/ 473 w 946"/>
                <a:gd name="T3" fmla="*/ 0 h 722"/>
                <a:gd name="T4" fmla="*/ 1 w 946"/>
                <a:gd name="T5" fmla="*/ 483 h 722"/>
                <a:gd name="T6" fmla="*/ 20 w 946"/>
                <a:gd name="T7" fmla="*/ 652 h 722"/>
                <a:gd name="T8" fmla="*/ 20 w 946"/>
                <a:gd name="T9" fmla="*/ 653 h 722"/>
                <a:gd name="T10" fmla="*/ 67 w 946"/>
                <a:gd name="T11" fmla="*/ 713 h 722"/>
                <a:gd name="T12" fmla="*/ 98 w 946"/>
                <a:gd name="T13" fmla="*/ 716 h 722"/>
                <a:gd name="T14" fmla="*/ 214 w 946"/>
                <a:gd name="T15" fmla="*/ 388 h 722"/>
                <a:gd name="T16" fmla="*/ 835 w 946"/>
                <a:gd name="T17" fmla="*/ 366 h 722"/>
                <a:gd name="T18" fmla="*/ 840 w 946"/>
                <a:gd name="T19" fmla="*/ 722 h 722"/>
                <a:gd name="T20" fmla="*/ 874 w 946"/>
                <a:gd name="T21" fmla="*/ 722 h 722"/>
                <a:gd name="T22" fmla="*/ 928 w 946"/>
                <a:gd name="T23" fmla="*/ 646 h 722"/>
                <a:gd name="T24" fmla="*/ 928 w 946"/>
                <a:gd name="T25" fmla="*/ 647 h 722"/>
                <a:gd name="T26" fmla="*/ 945 w 946"/>
                <a:gd name="T27" fmla="*/ 483 h 7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46" h="722">
                  <a:moveTo>
                    <a:pt x="945" y="483"/>
                  </a:moveTo>
                  <a:cubicBezTo>
                    <a:pt x="945" y="216"/>
                    <a:pt x="740" y="0"/>
                    <a:pt x="473" y="0"/>
                  </a:cubicBezTo>
                  <a:cubicBezTo>
                    <a:pt x="206" y="0"/>
                    <a:pt x="1" y="216"/>
                    <a:pt x="1" y="483"/>
                  </a:cubicBezTo>
                  <a:cubicBezTo>
                    <a:pt x="1" y="543"/>
                    <a:pt x="0" y="600"/>
                    <a:pt x="20" y="652"/>
                  </a:cubicBezTo>
                  <a:cubicBezTo>
                    <a:pt x="20" y="652"/>
                    <a:pt x="20" y="653"/>
                    <a:pt x="20" y="653"/>
                  </a:cubicBezTo>
                  <a:cubicBezTo>
                    <a:pt x="67" y="695"/>
                    <a:pt x="67" y="713"/>
                    <a:pt x="67" y="713"/>
                  </a:cubicBezTo>
                  <a:cubicBezTo>
                    <a:pt x="98" y="716"/>
                    <a:pt x="98" y="716"/>
                    <a:pt x="98" y="716"/>
                  </a:cubicBezTo>
                  <a:cubicBezTo>
                    <a:pt x="98" y="716"/>
                    <a:pt x="73" y="431"/>
                    <a:pt x="214" y="388"/>
                  </a:cubicBezTo>
                  <a:cubicBezTo>
                    <a:pt x="214" y="388"/>
                    <a:pt x="782" y="637"/>
                    <a:pt x="835" y="366"/>
                  </a:cubicBezTo>
                  <a:cubicBezTo>
                    <a:pt x="840" y="704"/>
                    <a:pt x="840" y="722"/>
                    <a:pt x="840" y="722"/>
                  </a:cubicBezTo>
                  <a:cubicBezTo>
                    <a:pt x="874" y="722"/>
                    <a:pt x="874" y="722"/>
                    <a:pt x="874" y="722"/>
                  </a:cubicBezTo>
                  <a:cubicBezTo>
                    <a:pt x="919" y="672"/>
                    <a:pt x="926" y="647"/>
                    <a:pt x="928" y="646"/>
                  </a:cubicBezTo>
                  <a:cubicBezTo>
                    <a:pt x="928" y="647"/>
                    <a:pt x="928" y="647"/>
                    <a:pt x="928" y="647"/>
                  </a:cubicBezTo>
                  <a:cubicBezTo>
                    <a:pt x="946" y="596"/>
                    <a:pt x="945" y="541"/>
                    <a:pt x="945" y="48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7" name="Freeform 6">
              <a:extLst>
                <a:ext uri="{FF2B5EF4-FFF2-40B4-BE49-F238E27FC236}">
                  <a16:creationId xmlns:a16="http://schemas.microsoft.com/office/drawing/2014/main" xmlns="" id="{37535808-A0AC-4319-912E-EAFC272533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47" y="1869"/>
              <a:ext cx="3383" cy="1802"/>
            </a:xfrm>
            <a:custGeom>
              <a:avLst/>
              <a:gdLst>
                <a:gd name="T0" fmla="*/ 26 w 1806"/>
                <a:gd name="T1" fmla="*/ 961 h 961"/>
                <a:gd name="T2" fmla="*/ 5 w 1806"/>
                <a:gd name="T3" fmla="*/ 931 h 961"/>
                <a:gd name="T4" fmla="*/ 223 w 1806"/>
                <a:gd name="T5" fmla="*/ 614 h 961"/>
                <a:gd name="T6" fmla="*/ 611 w 1806"/>
                <a:gd name="T7" fmla="*/ 548 h 961"/>
                <a:gd name="T8" fmla="*/ 611 w 1806"/>
                <a:gd name="T9" fmla="*/ 548 h 961"/>
                <a:gd name="T10" fmla="*/ 908 w 1806"/>
                <a:gd name="T11" fmla="*/ 688 h 961"/>
                <a:gd name="T12" fmla="*/ 898 w 1806"/>
                <a:gd name="T13" fmla="*/ 688 h 961"/>
                <a:gd name="T14" fmla="*/ 1195 w 1806"/>
                <a:gd name="T15" fmla="*/ 548 h 961"/>
                <a:gd name="T16" fmla="*/ 1195 w 1806"/>
                <a:gd name="T17" fmla="*/ 548 h 961"/>
                <a:gd name="T18" fmla="*/ 1583 w 1806"/>
                <a:gd name="T19" fmla="*/ 614 h 961"/>
                <a:gd name="T20" fmla="*/ 1801 w 1806"/>
                <a:gd name="T21" fmla="*/ 931 h 961"/>
                <a:gd name="T22" fmla="*/ 1780 w 1806"/>
                <a:gd name="T23" fmla="*/ 961 h 961"/>
                <a:gd name="T24" fmla="*/ 26 w 1806"/>
                <a:gd name="T25" fmla="*/ 961 h 961"/>
                <a:gd name="T26" fmla="*/ 1329 w 1806"/>
                <a:gd name="T27" fmla="*/ 24 h 961"/>
                <a:gd name="T28" fmla="*/ 1283 w 1806"/>
                <a:gd name="T29" fmla="*/ 77 h 961"/>
                <a:gd name="T30" fmla="*/ 1273 w 1806"/>
                <a:gd name="T31" fmla="*/ 89 h 961"/>
                <a:gd name="T32" fmla="*/ 1129 w 1806"/>
                <a:gd name="T33" fmla="*/ 391 h 961"/>
                <a:gd name="T34" fmla="*/ 903 w 1806"/>
                <a:gd name="T35" fmla="*/ 504 h 961"/>
                <a:gd name="T36" fmla="*/ 677 w 1806"/>
                <a:gd name="T37" fmla="*/ 391 h 961"/>
                <a:gd name="T38" fmla="*/ 533 w 1806"/>
                <a:gd name="T39" fmla="*/ 89 h 961"/>
                <a:gd name="T40" fmla="*/ 523 w 1806"/>
                <a:gd name="T41" fmla="*/ 77 h 961"/>
                <a:gd name="T42" fmla="*/ 477 w 1806"/>
                <a:gd name="T43" fmla="*/ 24 h 961"/>
                <a:gd name="T44" fmla="*/ 426 w 1806"/>
                <a:gd name="T45" fmla="*/ 0 h 961"/>
                <a:gd name="T46" fmla="*/ 426 w 1806"/>
                <a:gd name="T47" fmla="*/ 5 h 961"/>
                <a:gd name="T48" fmla="*/ 495 w 1806"/>
                <a:gd name="T49" fmla="*/ 112 h 961"/>
                <a:gd name="T50" fmla="*/ 639 w 1806"/>
                <a:gd name="T51" fmla="*/ 414 h 961"/>
                <a:gd name="T52" fmla="*/ 639 w 1806"/>
                <a:gd name="T53" fmla="*/ 512 h 961"/>
                <a:gd name="T54" fmla="*/ 646 w 1806"/>
                <a:gd name="T55" fmla="*/ 522 h 961"/>
                <a:gd name="T56" fmla="*/ 683 w 1806"/>
                <a:gd name="T57" fmla="*/ 560 h 961"/>
                <a:gd name="T58" fmla="*/ 683 w 1806"/>
                <a:gd name="T59" fmla="*/ 451 h 961"/>
                <a:gd name="T60" fmla="*/ 903 w 1806"/>
                <a:gd name="T61" fmla="*/ 548 h 961"/>
                <a:gd name="T62" fmla="*/ 1123 w 1806"/>
                <a:gd name="T63" fmla="*/ 451 h 961"/>
                <a:gd name="T64" fmla="*/ 1123 w 1806"/>
                <a:gd name="T65" fmla="*/ 560 h 961"/>
                <a:gd name="T66" fmla="*/ 1160 w 1806"/>
                <a:gd name="T67" fmla="*/ 522 h 961"/>
                <a:gd name="T68" fmla="*/ 1167 w 1806"/>
                <a:gd name="T69" fmla="*/ 512 h 961"/>
                <a:gd name="T70" fmla="*/ 1167 w 1806"/>
                <a:gd name="T71" fmla="*/ 414 h 961"/>
                <a:gd name="T72" fmla="*/ 1311 w 1806"/>
                <a:gd name="T73" fmla="*/ 112 h 961"/>
                <a:gd name="T74" fmla="*/ 1380 w 1806"/>
                <a:gd name="T75" fmla="*/ 3 h 961"/>
                <a:gd name="T76" fmla="*/ 1380 w 1806"/>
                <a:gd name="T77" fmla="*/ 0 h 961"/>
                <a:gd name="T78" fmla="*/ 1329 w 1806"/>
                <a:gd name="T79" fmla="*/ 24 h 9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806" h="961">
                  <a:moveTo>
                    <a:pt x="26" y="961"/>
                  </a:moveTo>
                  <a:cubicBezTo>
                    <a:pt x="10" y="961"/>
                    <a:pt x="0" y="945"/>
                    <a:pt x="5" y="931"/>
                  </a:cubicBezTo>
                  <a:cubicBezTo>
                    <a:pt x="33" y="857"/>
                    <a:pt x="113" y="664"/>
                    <a:pt x="223" y="614"/>
                  </a:cubicBezTo>
                  <a:cubicBezTo>
                    <a:pt x="359" y="551"/>
                    <a:pt x="611" y="548"/>
                    <a:pt x="611" y="548"/>
                  </a:cubicBezTo>
                  <a:cubicBezTo>
                    <a:pt x="611" y="548"/>
                    <a:pt x="611" y="548"/>
                    <a:pt x="611" y="548"/>
                  </a:cubicBezTo>
                  <a:cubicBezTo>
                    <a:pt x="611" y="548"/>
                    <a:pt x="711" y="688"/>
                    <a:pt x="908" y="688"/>
                  </a:cubicBezTo>
                  <a:cubicBezTo>
                    <a:pt x="898" y="688"/>
                    <a:pt x="898" y="688"/>
                    <a:pt x="898" y="688"/>
                  </a:cubicBezTo>
                  <a:cubicBezTo>
                    <a:pt x="1095" y="688"/>
                    <a:pt x="1195" y="548"/>
                    <a:pt x="1195" y="548"/>
                  </a:cubicBezTo>
                  <a:cubicBezTo>
                    <a:pt x="1195" y="548"/>
                    <a:pt x="1195" y="548"/>
                    <a:pt x="1195" y="548"/>
                  </a:cubicBezTo>
                  <a:cubicBezTo>
                    <a:pt x="1195" y="548"/>
                    <a:pt x="1447" y="551"/>
                    <a:pt x="1583" y="614"/>
                  </a:cubicBezTo>
                  <a:cubicBezTo>
                    <a:pt x="1693" y="664"/>
                    <a:pt x="1773" y="857"/>
                    <a:pt x="1801" y="931"/>
                  </a:cubicBezTo>
                  <a:cubicBezTo>
                    <a:pt x="1806" y="945"/>
                    <a:pt x="1796" y="961"/>
                    <a:pt x="1780" y="961"/>
                  </a:cubicBezTo>
                  <a:lnTo>
                    <a:pt x="26" y="961"/>
                  </a:lnTo>
                  <a:close/>
                  <a:moveTo>
                    <a:pt x="1329" y="24"/>
                  </a:moveTo>
                  <a:cubicBezTo>
                    <a:pt x="1322" y="43"/>
                    <a:pt x="1308" y="65"/>
                    <a:pt x="1283" y="77"/>
                  </a:cubicBezTo>
                  <a:cubicBezTo>
                    <a:pt x="1278" y="80"/>
                    <a:pt x="1274" y="84"/>
                    <a:pt x="1273" y="89"/>
                  </a:cubicBezTo>
                  <a:cubicBezTo>
                    <a:pt x="1232" y="192"/>
                    <a:pt x="1157" y="365"/>
                    <a:pt x="1129" y="391"/>
                  </a:cubicBezTo>
                  <a:cubicBezTo>
                    <a:pt x="1084" y="430"/>
                    <a:pt x="968" y="504"/>
                    <a:pt x="903" y="504"/>
                  </a:cubicBezTo>
                  <a:cubicBezTo>
                    <a:pt x="838" y="504"/>
                    <a:pt x="722" y="430"/>
                    <a:pt x="677" y="391"/>
                  </a:cubicBezTo>
                  <a:cubicBezTo>
                    <a:pt x="649" y="365"/>
                    <a:pt x="574" y="192"/>
                    <a:pt x="533" y="89"/>
                  </a:cubicBezTo>
                  <a:cubicBezTo>
                    <a:pt x="532" y="84"/>
                    <a:pt x="528" y="80"/>
                    <a:pt x="523" y="77"/>
                  </a:cubicBezTo>
                  <a:cubicBezTo>
                    <a:pt x="498" y="65"/>
                    <a:pt x="484" y="43"/>
                    <a:pt x="477" y="24"/>
                  </a:cubicBezTo>
                  <a:cubicBezTo>
                    <a:pt x="426" y="0"/>
                    <a:pt x="426" y="0"/>
                    <a:pt x="426" y="0"/>
                  </a:cubicBezTo>
                  <a:cubicBezTo>
                    <a:pt x="426" y="2"/>
                    <a:pt x="426" y="4"/>
                    <a:pt x="426" y="5"/>
                  </a:cubicBezTo>
                  <a:cubicBezTo>
                    <a:pt x="431" y="33"/>
                    <a:pt x="446" y="83"/>
                    <a:pt x="495" y="112"/>
                  </a:cubicBezTo>
                  <a:cubicBezTo>
                    <a:pt x="517" y="168"/>
                    <a:pt x="594" y="359"/>
                    <a:pt x="639" y="414"/>
                  </a:cubicBezTo>
                  <a:cubicBezTo>
                    <a:pt x="639" y="512"/>
                    <a:pt x="639" y="512"/>
                    <a:pt x="639" y="512"/>
                  </a:cubicBezTo>
                  <a:cubicBezTo>
                    <a:pt x="646" y="522"/>
                    <a:pt x="646" y="522"/>
                    <a:pt x="646" y="522"/>
                  </a:cubicBezTo>
                  <a:cubicBezTo>
                    <a:pt x="648" y="524"/>
                    <a:pt x="660" y="540"/>
                    <a:pt x="683" y="560"/>
                  </a:cubicBezTo>
                  <a:cubicBezTo>
                    <a:pt x="683" y="451"/>
                    <a:pt x="683" y="451"/>
                    <a:pt x="683" y="451"/>
                  </a:cubicBezTo>
                  <a:cubicBezTo>
                    <a:pt x="742" y="494"/>
                    <a:pt x="838" y="548"/>
                    <a:pt x="903" y="548"/>
                  </a:cubicBezTo>
                  <a:cubicBezTo>
                    <a:pt x="968" y="548"/>
                    <a:pt x="1064" y="494"/>
                    <a:pt x="1123" y="451"/>
                  </a:cubicBezTo>
                  <a:cubicBezTo>
                    <a:pt x="1123" y="560"/>
                    <a:pt x="1123" y="560"/>
                    <a:pt x="1123" y="560"/>
                  </a:cubicBezTo>
                  <a:cubicBezTo>
                    <a:pt x="1146" y="540"/>
                    <a:pt x="1158" y="524"/>
                    <a:pt x="1160" y="522"/>
                  </a:cubicBezTo>
                  <a:cubicBezTo>
                    <a:pt x="1167" y="512"/>
                    <a:pt x="1167" y="512"/>
                    <a:pt x="1167" y="512"/>
                  </a:cubicBezTo>
                  <a:cubicBezTo>
                    <a:pt x="1167" y="414"/>
                    <a:pt x="1167" y="414"/>
                    <a:pt x="1167" y="414"/>
                  </a:cubicBezTo>
                  <a:cubicBezTo>
                    <a:pt x="1212" y="358"/>
                    <a:pt x="1289" y="168"/>
                    <a:pt x="1311" y="112"/>
                  </a:cubicBezTo>
                  <a:cubicBezTo>
                    <a:pt x="1363" y="82"/>
                    <a:pt x="1377" y="26"/>
                    <a:pt x="1380" y="3"/>
                  </a:cubicBezTo>
                  <a:cubicBezTo>
                    <a:pt x="1380" y="2"/>
                    <a:pt x="1380" y="1"/>
                    <a:pt x="1380" y="0"/>
                  </a:cubicBezTo>
                  <a:lnTo>
                    <a:pt x="1329" y="2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grpSp>
        <p:nvGrpSpPr>
          <p:cNvPr id="83" name="Group 82"/>
          <p:cNvGrpSpPr/>
          <p:nvPr/>
        </p:nvGrpSpPr>
        <p:grpSpPr>
          <a:xfrm>
            <a:off x="2957542" y="1867508"/>
            <a:ext cx="449642" cy="449781"/>
            <a:chOff x="5416391" y="2774483"/>
            <a:chExt cx="599523" cy="599523"/>
          </a:xfrm>
        </p:grpSpPr>
        <p:sp>
          <p:nvSpPr>
            <p:cNvPr id="62" name="Oval 61"/>
            <p:cNvSpPr/>
            <p:nvPr/>
          </p:nvSpPr>
          <p:spPr>
            <a:xfrm>
              <a:off x="5416391" y="2774483"/>
              <a:ext cx="599523" cy="599523"/>
            </a:xfrm>
            <a:prstGeom prst="ellipse">
              <a:avLst/>
            </a:prstGeom>
            <a:solidFill>
              <a:srgbClr val="FFFFFF"/>
            </a:solidFill>
            <a:ln w="19050">
              <a:gradFill flip="none" rotWithShape="1">
                <a:gsLst>
                  <a:gs pos="0">
                    <a:schemeClr val="accent5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ru-RU" kern="0" dirty="0" err="1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76" name="bcgIcons_SocialLocalMobile">
              <a:extLst>
                <a:ext uri="{FF2B5EF4-FFF2-40B4-BE49-F238E27FC236}">
                  <a16:creationId xmlns:a16="http://schemas.microsoft.com/office/drawing/2014/main" xmlns="" id="{9C6A3BF8-8BB1-4C26-961E-3A4C99E147D2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514602" y="2872507"/>
              <a:ext cx="403098" cy="403472"/>
              <a:chOff x="1682" y="0"/>
              <a:chExt cx="4316" cy="4320"/>
            </a:xfrm>
          </p:grpSpPr>
          <p:sp>
            <p:nvSpPr>
              <p:cNvPr id="77" name="AutoShape 14">
                <a:extLst>
                  <a:ext uri="{FF2B5EF4-FFF2-40B4-BE49-F238E27FC236}">
                    <a16:creationId xmlns:a16="http://schemas.microsoft.com/office/drawing/2014/main" xmlns="" id="{BDDACC51-4E38-4C73-AFB4-EFF891C07CBD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78" name="Freeform 16">
                <a:extLst>
                  <a:ext uri="{FF2B5EF4-FFF2-40B4-BE49-F238E27FC236}">
                    <a16:creationId xmlns:a16="http://schemas.microsoft.com/office/drawing/2014/main" xmlns="" id="{260CCC71-59BA-444A-9169-9A56D7C0F7D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90" y="626"/>
                <a:ext cx="2900" cy="3068"/>
              </a:xfrm>
              <a:custGeom>
                <a:avLst/>
                <a:gdLst>
                  <a:gd name="T0" fmla="*/ 1197 w 1548"/>
                  <a:gd name="T1" fmla="*/ 934 h 1636"/>
                  <a:gd name="T2" fmla="*/ 903 w 1548"/>
                  <a:gd name="T3" fmla="*/ 1093 h 1636"/>
                  <a:gd name="T4" fmla="*/ 736 w 1548"/>
                  <a:gd name="T5" fmla="*/ 1005 h 1636"/>
                  <a:gd name="T6" fmla="*/ 780 w 1548"/>
                  <a:gd name="T7" fmla="*/ 825 h 1636"/>
                  <a:gd name="T8" fmla="*/ 733 w 1548"/>
                  <a:gd name="T9" fmla="*/ 639 h 1636"/>
                  <a:gd name="T10" fmla="*/ 1056 w 1548"/>
                  <a:gd name="T11" fmla="*/ 451 h 1636"/>
                  <a:gd name="T12" fmla="*/ 1244 w 1548"/>
                  <a:gd name="T13" fmla="*/ 529 h 1636"/>
                  <a:gd name="T14" fmla="*/ 1509 w 1548"/>
                  <a:gd name="T15" fmla="*/ 265 h 1636"/>
                  <a:gd name="T16" fmla="*/ 1244 w 1548"/>
                  <a:gd name="T17" fmla="*/ 0 h 1636"/>
                  <a:gd name="T18" fmla="*/ 979 w 1548"/>
                  <a:gd name="T19" fmla="*/ 265 h 1636"/>
                  <a:gd name="T20" fmla="*/ 1027 w 1548"/>
                  <a:gd name="T21" fmla="*/ 417 h 1636"/>
                  <a:gd name="T22" fmla="*/ 710 w 1548"/>
                  <a:gd name="T23" fmla="*/ 602 h 1636"/>
                  <a:gd name="T24" fmla="*/ 390 w 1548"/>
                  <a:gd name="T25" fmla="*/ 435 h 1636"/>
                  <a:gd name="T26" fmla="*/ 0 w 1548"/>
                  <a:gd name="T27" fmla="*/ 825 h 1636"/>
                  <a:gd name="T28" fmla="*/ 390 w 1548"/>
                  <a:gd name="T29" fmla="*/ 1215 h 1636"/>
                  <a:gd name="T30" fmla="*/ 714 w 1548"/>
                  <a:gd name="T31" fmla="*/ 1043 h 1636"/>
                  <a:gd name="T32" fmla="*/ 881 w 1548"/>
                  <a:gd name="T33" fmla="*/ 1132 h 1636"/>
                  <a:gd name="T34" fmla="*/ 846 w 1548"/>
                  <a:gd name="T35" fmla="*/ 1285 h 1636"/>
                  <a:gd name="T36" fmla="*/ 1197 w 1548"/>
                  <a:gd name="T37" fmla="*/ 1636 h 1636"/>
                  <a:gd name="T38" fmla="*/ 1548 w 1548"/>
                  <a:gd name="T39" fmla="*/ 1285 h 1636"/>
                  <a:gd name="T40" fmla="*/ 1197 w 1548"/>
                  <a:gd name="T41" fmla="*/ 934 h 1636"/>
                  <a:gd name="T42" fmla="*/ 1244 w 1548"/>
                  <a:gd name="T43" fmla="*/ 44 h 1636"/>
                  <a:gd name="T44" fmla="*/ 1465 w 1548"/>
                  <a:gd name="T45" fmla="*/ 265 h 1636"/>
                  <a:gd name="T46" fmla="*/ 1244 w 1548"/>
                  <a:gd name="T47" fmla="*/ 485 h 1636"/>
                  <a:gd name="T48" fmla="*/ 1023 w 1548"/>
                  <a:gd name="T49" fmla="*/ 265 h 1636"/>
                  <a:gd name="T50" fmla="*/ 1244 w 1548"/>
                  <a:gd name="T51" fmla="*/ 44 h 1636"/>
                  <a:gd name="T52" fmla="*/ 390 w 1548"/>
                  <a:gd name="T53" fmla="*/ 1171 h 1636"/>
                  <a:gd name="T54" fmla="*/ 44 w 1548"/>
                  <a:gd name="T55" fmla="*/ 825 h 1636"/>
                  <a:gd name="T56" fmla="*/ 390 w 1548"/>
                  <a:gd name="T57" fmla="*/ 479 h 1636"/>
                  <a:gd name="T58" fmla="*/ 736 w 1548"/>
                  <a:gd name="T59" fmla="*/ 825 h 1636"/>
                  <a:gd name="T60" fmla="*/ 390 w 1548"/>
                  <a:gd name="T61" fmla="*/ 1171 h 1636"/>
                  <a:gd name="T62" fmla="*/ 1197 w 1548"/>
                  <a:gd name="T63" fmla="*/ 1592 h 1636"/>
                  <a:gd name="T64" fmla="*/ 890 w 1548"/>
                  <a:gd name="T65" fmla="*/ 1285 h 1636"/>
                  <a:gd name="T66" fmla="*/ 1197 w 1548"/>
                  <a:gd name="T67" fmla="*/ 978 h 1636"/>
                  <a:gd name="T68" fmla="*/ 1504 w 1548"/>
                  <a:gd name="T69" fmla="*/ 1285 h 1636"/>
                  <a:gd name="T70" fmla="*/ 1197 w 1548"/>
                  <a:gd name="T71" fmla="*/ 1592 h 163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548" h="1636">
                    <a:moveTo>
                      <a:pt x="1197" y="934"/>
                    </a:moveTo>
                    <a:cubicBezTo>
                      <a:pt x="1074" y="934"/>
                      <a:pt x="966" y="998"/>
                      <a:pt x="903" y="1093"/>
                    </a:cubicBezTo>
                    <a:cubicBezTo>
                      <a:pt x="736" y="1005"/>
                      <a:pt x="736" y="1005"/>
                      <a:pt x="736" y="1005"/>
                    </a:cubicBezTo>
                    <a:cubicBezTo>
                      <a:pt x="765" y="951"/>
                      <a:pt x="780" y="890"/>
                      <a:pt x="780" y="825"/>
                    </a:cubicBezTo>
                    <a:cubicBezTo>
                      <a:pt x="780" y="758"/>
                      <a:pt x="763" y="694"/>
                      <a:pt x="733" y="639"/>
                    </a:cubicBezTo>
                    <a:cubicBezTo>
                      <a:pt x="1056" y="451"/>
                      <a:pt x="1056" y="451"/>
                      <a:pt x="1056" y="451"/>
                    </a:cubicBezTo>
                    <a:cubicBezTo>
                      <a:pt x="1104" y="499"/>
                      <a:pt x="1171" y="529"/>
                      <a:pt x="1244" y="529"/>
                    </a:cubicBezTo>
                    <a:cubicBezTo>
                      <a:pt x="1390" y="529"/>
                      <a:pt x="1509" y="411"/>
                      <a:pt x="1509" y="265"/>
                    </a:cubicBezTo>
                    <a:cubicBezTo>
                      <a:pt x="1509" y="119"/>
                      <a:pt x="1390" y="0"/>
                      <a:pt x="1244" y="0"/>
                    </a:cubicBezTo>
                    <a:cubicBezTo>
                      <a:pt x="1098" y="0"/>
                      <a:pt x="979" y="119"/>
                      <a:pt x="979" y="265"/>
                    </a:cubicBezTo>
                    <a:cubicBezTo>
                      <a:pt x="979" y="321"/>
                      <a:pt x="997" y="374"/>
                      <a:pt x="1027" y="417"/>
                    </a:cubicBezTo>
                    <a:cubicBezTo>
                      <a:pt x="710" y="602"/>
                      <a:pt x="710" y="602"/>
                      <a:pt x="710" y="602"/>
                    </a:cubicBezTo>
                    <a:cubicBezTo>
                      <a:pt x="640" y="501"/>
                      <a:pt x="523" y="435"/>
                      <a:pt x="390" y="435"/>
                    </a:cubicBezTo>
                    <a:cubicBezTo>
                      <a:pt x="175" y="435"/>
                      <a:pt x="0" y="610"/>
                      <a:pt x="0" y="825"/>
                    </a:cubicBezTo>
                    <a:cubicBezTo>
                      <a:pt x="0" y="1040"/>
                      <a:pt x="175" y="1215"/>
                      <a:pt x="390" y="1215"/>
                    </a:cubicBezTo>
                    <a:cubicBezTo>
                      <a:pt x="525" y="1215"/>
                      <a:pt x="644" y="1146"/>
                      <a:pt x="714" y="1043"/>
                    </a:cubicBezTo>
                    <a:cubicBezTo>
                      <a:pt x="881" y="1132"/>
                      <a:pt x="881" y="1132"/>
                      <a:pt x="881" y="1132"/>
                    </a:cubicBezTo>
                    <a:cubicBezTo>
                      <a:pt x="859" y="1178"/>
                      <a:pt x="846" y="1230"/>
                      <a:pt x="846" y="1285"/>
                    </a:cubicBezTo>
                    <a:cubicBezTo>
                      <a:pt x="846" y="1479"/>
                      <a:pt x="1003" y="1636"/>
                      <a:pt x="1197" y="1636"/>
                    </a:cubicBezTo>
                    <a:cubicBezTo>
                      <a:pt x="1390" y="1636"/>
                      <a:pt x="1548" y="1479"/>
                      <a:pt x="1548" y="1285"/>
                    </a:cubicBezTo>
                    <a:cubicBezTo>
                      <a:pt x="1548" y="1092"/>
                      <a:pt x="1390" y="934"/>
                      <a:pt x="1197" y="934"/>
                    </a:cubicBezTo>
                    <a:close/>
                    <a:moveTo>
                      <a:pt x="1244" y="44"/>
                    </a:moveTo>
                    <a:cubicBezTo>
                      <a:pt x="1366" y="44"/>
                      <a:pt x="1465" y="143"/>
                      <a:pt x="1465" y="265"/>
                    </a:cubicBezTo>
                    <a:cubicBezTo>
                      <a:pt x="1465" y="386"/>
                      <a:pt x="1366" y="485"/>
                      <a:pt x="1244" y="485"/>
                    </a:cubicBezTo>
                    <a:cubicBezTo>
                      <a:pt x="1122" y="485"/>
                      <a:pt x="1023" y="386"/>
                      <a:pt x="1023" y="265"/>
                    </a:cubicBezTo>
                    <a:cubicBezTo>
                      <a:pt x="1023" y="143"/>
                      <a:pt x="1122" y="44"/>
                      <a:pt x="1244" y="44"/>
                    </a:cubicBezTo>
                    <a:close/>
                    <a:moveTo>
                      <a:pt x="390" y="1171"/>
                    </a:moveTo>
                    <a:cubicBezTo>
                      <a:pt x="199" y="1171"/>
                      <a:pt x="44" y="1016"/>
                      <a:pt x="44" y="825"/>
                    </a:cubicBezTo>
                    <a:cubicBezTo>
                      <a:pt x="44" y="634"/>
                      <a:pt x="199" y="479"/>
                      <a:pt x="390" y="479"/>
                    </a:cubicBezTo>
                    <a:cubicBezTo>
                      <a:pt x="581" y="479"/>
                      <a:pt x="736" y="634"/>
                      <a:pt x="736" y="825"/>
                    </a:cubicBezTo>
                    <a:cubicBezTo>
                      <a:pt x="736" y="1016"/>
                      <a:pt x="581" y="1171"/>
                      <a:pt x="390" y="1171"/>
                    </a:cubicBezTo>
                    <a:close/>
                    <a:moveTo>
                      <a:pt x="1197" y="1592"/>
                    </a:moveTo>
                    <a:cubicBezTo>
                      <a:pt x="1028" y="1592"/>
                      <a:pt x="890" y="1454"/>
                      <a:pt x="890" y="1285"/>
                    </a:cubicBezTo>
                    <a:cubicBezTo>
                      <a:pt x="890" y="1116"/>
                      <a:pt x="1028" y="978"/>
                      <a:pt x="1197" y="978"/>
                    </a:cubicBezTo>
                    <a:cubicBezTo>
                      <a:pt x="1366" y="978"/>
                      <a:pt x="1504" y="1116"/>
                      <a:pt x="1504" y="1285"/>
                    </a:cubicBezTo>
                    <a:cubicBezTo>
                      <a:pt x="1504" y="1454"/>
                      <a:pt x="1366" y="1592"/>
                      <a:pt x="1197" y="1592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79" name="Freeform 17">
                <a:extLst>
                  <a:ext uri="{FF2B5EF4-FFF2-40B4-BE49-F238E27FC236}">
                    <a16:creationId xmlns:a16="http://schemas.microsoft.com/office/drawing/2014/main" xmlns="" id="{FD4F62CA-1AC9-4756-BA29-FDF0D113F65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55" y="791"/>
                <a:ext cx="2570" cy="2738"/>
              </a:xfrm>
              <a:custGeom>
                <a:avLst/>
                <a:gdLst>
                  <a:gd name="T0" fmla="*/ 1156 w 1372"/>
                  <a:gd name="T1" fmla="*/ 353 h 1460"/>
                  <a:gd name="T2" fmla="*/ 979 w 1372"/>
                  <a:gd name="T3" fmla="*/ 177 h 1460"/>
                  <a:gd name="T4" fmla="*/ 1156 w 1372"/>
                  <a:gd name="T5" fmla="*/ 0 h 1460"/>
                  <a:gd name="T6" fmla="*/ 1333 w 1372"/>
                  <a:gd name="T7" fmla="*/ 177 h 1460"/>
                  <a:gd name="T8" fmla="*/ 1156 w 1372"/>
                  <a:gd name="T9" fmla="*/ 353 h 1460"/>
                  <a:gd name="T10" fmla="*/ 1372 w 1372"/>
                  <a:gd name="T11" fmla="*/ 1197 h 1460"/>
                  <a:gd name="T12" fmla="*/ 1109 w 1372"/>
                  <a:gd name="T13" fmla="*/ 934 h 1460"/>
                  <a:gd name="T14" fmla="*/ 846 w 1372"/>
                  <a:gd name="T15" fmla="*/ 1197 h 1460"/>
                  <a:gd name="T16" fmla="*/ 1109 w 1372"/>
                  <a:gd name="T17" fmla="*/ 1460 h 1460"/>
                  <a:gd name="T18" fmla="*/ 1372 w 1372"/>
                  <a:gd name="T19" fmla="*/ 1197 h 1460"/>
                  <a:gd name="T20" fmla="*/ 604 w 1372"/>
                  <a:gd name="T21" fmla="*/ 737 h 1460"/>
                  <a:gd name="T22" fmla="*/ 302 w 1372"/>
                  <a:gd name="T23" fmla="*/ 435 h 1460"/>
                  <a:gd name="T24" fmla="*/ 0 w 1372"/>
                  <a:gd name="T25" fmla="*/ 737 h 1460"/>
                  <a:gd name="T26" fmla="*/ 302 w 1372"/>
                  <a:gd name="T27" fmla="*/ 1039 h 1460"/>
                  <a:gd name="T28" fmla="*/ 604 w 1372"/>
                  <a:gd name="T29" fmla="*/ 737 h 14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1372" h="1460">
                    <a:moveTo>
                      <a:pt x="1156" y="353"/>
                    </a:moveTo>
                    <a:cubicBezTo>
                      <a:pt x="1059" y="353"/>
                      <a:pt x="979" y="274"/>
                      <a:pt x="979" y="177"/>
                    </a:cubicBezTo>
                    <a:cubicBezTo>
                      <a:pt x="979" y="79"/>
                      <a:pt x="1059" y="0"/>
                      <a:pt x="1156" y="0"/>
                    </a:cubicBezTo>
                    <a:cubicBezTo>
                      <a:pt x="1254" y="0"/>
                      <a:pt x="1333" y="79"/>
                      <a:pt x="1333" y="177"/>
                    </a:cubicBezTo>
                    <a:cubicBezTo>
                      <a:pt x="1333" y="274"/>
                      <a:pt x="1254" y="353"/>
                      <a:pt x="1156" y="353"/>
                    </a:cubicBezTo>
                    <a:close/>
                    <a:moveTo>
                      <a:pt x="1372" y="1197"/>
                    </a:moveTo>
                    <a:cubicBezTo>
                      <a:pt x="1372" y="1052"/>
                      <a:pt x="1254" y="934"/>
                      <a:pt x="1109" y="934"/>
                    </a:cubicBezTo>
                    <a:cubicBezTo>
                      <a:pt x="964" y="934"/>
                      <a:pt x="846" y="1052"/>
                      <a:pt x="846" y="1197"/>
                    </a:cubicBezTo>
                    <a:cubicBezTo>
                      <a:pt x="846" y="1342"/>
                      <a:pt x="964" y="1460"/>
                      <a:pt x="1109" y="1460"/>
                    </a:cubicBezTo>
                    <a:cubicBezTo>
                      <a:pt x="1254" y="1460"/>
                      <a:pt x="1372" y="1342"/>
                      <a:pt x="1372" y="1197"/>
                    </a:cubicBezTo>
                    <a:close/>
                    <a:moveTo>
                      <a:pt x="604" y="737"/>
                    </a:moveTo>
                    <a:cubicBezTo>
                      <a:pt x="604" y="570"/>
                      <a:pt x="469" y="435"/>
                      <a:pt x="302" y="435"/>
                    </a:cubicBezTo>
                    <a:cubicBezTo>
                      <a:pt x="136" y="435"/>
                      <a:pt x="0" y="570"/>
                      <a:pt x="0" y="737"/>
                    </a:cubicBezTo>
                    <a:cubicBezTo>
                      <a:pt x="0" y="903"/>
                      <a:pt x="136" y="1039"/>
                      <a:pt x="302" y="1039"/>
                    </a:cubicBezTo>
                    <a:cubicBezTo>
                      <a:pt x="469" y="1039"/>
                      <a:pt x="604" y="903"/>
                      <a:pt x="604" y="737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</p:grpSp>
      </p:grpSp>
      <p:grpSp>
        <p:nvGrpSpPr>
          <p:cNvPr id="84" name="Group 83"/>
          <p:cNvGrpSpPr/>
          <p:nvPr/>
        </p:nvGrpSpPr>
        <p:grpSpPr>
          <a:xfrm>
            <a:off x="3370204" y="2474080"/>
            <a:ext cx="449642" cy="449781"/>
            <a:chOff x="5035092" y="3248060"/>
            <a:chExt cx="599523" cy="599523"/>
          </a:xfrm>
        </p:grpSpPr>
        <p:sp>
          <p:nvSpPr>
            <p:cNvPr id="60" name="Oval 59"/>
            <p:cNvSpPr/>
            <p:nvPr/>
          </p:nvSpPr>
          <p:spPr>
            <a:xfrm>
              <a:off x="5035092" y="3248060"/>
              <a:ext cx="599523" cy="599523"/>
            </a:xfrm>
            <a:prstGeom prst="ellipse">
              <a:avLst/>
            </a:prstGeom>
            <a:solidFill>
              <a:srgbClr val="FFFFFF"/>
            </a:solidFill>
            <a:ln w="19050">
              <a:gradFill flip="none" rotWithShape="1">
                <a:gsLst>
                  <a:gs pos="0">
                    <a:schemeClr val="accent5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ru-RU" kern="0" dirty="0" err="1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72" name="bcgIcons_CapitolBuilding">
              <a:extLst>
                <a:ext uri="{FF2B5EF4-FFF2-40B4-BE49-F238E27FC236}">
                  <a16:creationId xmlns:a16="http://schemas.microsoft.com/office/drawing/2014/main" xmlns="" id="{CFD07298-93E4-46F1-A475-66F8FE79776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133304" y="3346084"/>
              <a:ext cx="403098" cy="403472"/>
              <a:chOff x="1682" y="0"/>
              <a:chExt cx="4316" cy="4320"/>
            </a:xfrm>
          </p:grpSpPr>
          <p:sp>
            <p:nvSpPr>
              <p:cNvPr id="73" name="AutoShape 8">
                <a:extLst>
                  <a:ext uri="{FF2B5EF4-FFF2-40B4-BE49-F238E27FC236}">
                    <a16:creationId xmlns:a16="http://schemas.microsoft.com/office/drawing/2014/main" xmlns="" id="{6CBFDBB9-C441-4D83-B46F-EF3E6F337258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74" name="Freeform 10">
                <a:extLst>
                  <a:ext uri="{FF2B5EF4-FFF2-40B4-BE49-F238E27FC236}">
                    <a16:creationId xmlns:a16="http://schemas.microsoft.com/office/drawing/2014/main" xmlns="" id="{690C1839-07CD-4A5B-A99B-E8EDAA80698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268" y="1071"/>
                <a:ext cx="3144" cy="2801"/>
              </a:xfrm>
              <a:custGeom>
                <a:avLst/>
                <a:gdLst>
                  <a:gd name="T0" fmla="*/ 1656 w 1678"/>
                  <a:gd name="T1" fmla="*/ 1332 h 1494"/>
                  <a:gd name="T2" fmla="*/ 1568 w 1678"/>
                  <a:gd name="T3" fmla="*/ 1332 h 1494"/>
                  <a:gd name="T4" fmla="*/ 1568 w 1678"/>
                  <a:gd name="T5" fmla="*/ 1288 h 1494"/>
                  <a:gd name="T6" fmla="*/ 1546 w 1678"/>
                  <a:gd name="T7" fmla="*/ 1266 h 1494"/>
                  <a:gd name="T8" fmla="*/ 132 w 1678"/>
                  <a:gd name="T9" fmla="*/ 1266 h 1494"/>
                  <a:gd name="T10" fmla="*/ 110 w 1678"/>
                  <a:gd name="T11" fmla="*/ 1288 h 1494"/>
                  <a:gd name="T12" fmla="*/ 110 w 1678"/>
                  <a:gd name="T13" fmla="*/ 1332 h 1494"/>
                  <a:gd name="T14" fmla="*/ 22 w 1678"/>
                  <a:gd name="T15" fmla="*/ 1332 h 1494"/>
                  <a:gd name="T16" fmla="*/ 0 w 1678"/>
                  <a:gd name="T17" fmla="*/ 1354 h 1494"/>
                  <a:gd name="T18" fmla="*/ 0 w 1678"/>
                  <a:gd name="T19" fmla="*/ 1472 h 1494"/>
                  <a:gd name="T20" fmla="*/ 22 w 1678"/>
                  <a:gd name="T21" fmla="*/ 1494 h 1494"/>
                  <a:gd name="T22" fmla="*/ 1656 w 1678"/>
                  <a:gd name="T23" fmla="*/ 1494 h 1494"/>
                  <a:gd name="T24" fmla="*/ 1678 w 1678"/>
                  <a:gd name="T25" fmla="*/ 1472 h 1494"/>
                  <a:gd name="T26" fmla="*/ 1678 w 1678"/>
                  <a:gd name="T27" fmla="*/ 1354 h 1494"/>
                  <a:gd name="T28" fmla="*/ 1656 w 1678"/>
                  <a:gd name="T29" fmla="*/ 1332 h 1494"/>
                  <a:gd name="T30" fmla="*/ 1645 w 1678"/>
                  <a:gd name="T31" fmla="*/ 375 h 1494"/>
                  <a:gd name="T32" fmla="*/ 1314 w 1678"/>
                  <a:gd name="T33" fmla="*/ 375 h 1494"/>
                  <a:gd name="T34" fmla="*/ 1147 w 1678"/>
                  <a:gd name="T35" fmla="*/ 109 h 1494"/>
                  <a:gd name="T36" fmla="*/ 839 w 1678"/>
                  <a:gd name="T37" fmla="*/ 0 h 1494"/>
                  <a:gd name="T38" fmla="*/ 532 w 1678"/>
                  <a:gd name="T39" fmla="*/ 108 h 1494"/>
                  <a:gd name="T40" fmla="*/ 364 w 1678"/>
                  <a:gd name="T41" fmla="*/ 375 h 1494"/>
                  <a:gd name="T42" fmla="*/ 33 w 1678"/>
                  <a:gd name="T43" fmla="*/ 375 h 1494"/>
                  <a:gd name="T44" fmla="*/ 11 w 1678"/>
                  <a:gd name="T45" fmla="*/ 397 h 1494"/>
                  <a:gd name="T46" fmla="*/ 11 w 1678"/>
                  <a:gd name="T47" fmla="*/ 528 h 1494"/>
                  <a:gd name="T48" fmla="*/ 33 w 1678"/>
                  <a:gd name="T49" fmla="*/ 550 h 1494"/>
                  <a:gd name="T50" fmla="*/ 1645 w 1678"/>
                  <a:gd name="T51" fmla="*/ 550 h 1494"/>
                  <a:gd name="T52" fmla="*/ 1667 w 1678"/>
                  <a:gd name="T53" fmla="*/ 528 h 1494"/>
                  <a:gd name="T54" fmla="*/ 1667 w 1678"/>
                  <a:gd name="T55" fmla="*/ 397 h 1494"/>
                  <a:gd name="T56" fmla="*/ 1645 w 1678"/>
                  <a:gd name="T57" fmla="*/ 375 h 1494"/>
                  <a:gd name="T58" fmla="*/ 839 w 1678"/>
                  <a:gd name="T59" fmla="*/ 44 h 1494"/>
                  <a:gd name="T60" fmla="*/ 1269 w 1678"/>
                  <a:gd name="T61" fmla="*/ 375 h 1494"/>
                  <a:gd name="T62" fmla="*/ 409 w 1678"/>
                  <a:gd name="T63" fmla="*/ 375 h 1494"/>
                  <a:gd name="T64" fmla="*/ 839 w 1678"/>
                  <a:gd name="T65" fmla="*/ 44 h 1494"/>
                  <a:gd name="T66" fmla="*/ 1623 w 1678"/>
                  <a:gd name="T67" fmla="*/ 506 h 1494"/>
                  <a:gd name="T68" fmla="*/ 55 w 1678"/>
                  <a:gd name="T69" fmla="*/ 506 h 1494"/>
                  <a:gd name="T70" fmla="*/ 55 w 1678"/>
                  <a:gd name="T71" fmla="*/ 419 h 1494"/>
                  <a:gd name="T72" fmla="*/ 1623 w 1678"/>
                  <a:gd name="T73" fmla="*/ 419 h 1494"/>
                  <a:gd name="T74" fmla="*/ 1623 w 1678"/>
                  <a:gd name="T75" fmla="*/ 506 h 14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1678" h="1494">
                    <a:moveTo>
                      <a:pt x="1656" y="1332"/>
                    </a:moveTo>
                    <a:cubicBezTo>
                      <a:pt x="1568" y="1332"/>
                      <a:pt x="1568" y="1332"/>
                      <a:pt x="1568" y="1332"/>
                    </a:cubicBezTo>
                    <a:cubicBezTo>
                      <a:pt x="1568" y="1288"/>
                      <a:pt x="1568" y="1288"/>
                      <a:pt x="1568" y="1288"/>
                    </a:cubicBezTo>
                    <a:cubicBezTo>
                      <a:pt x="1568" y="1276"/>
                      <a:pt x="1558" y="1266"/>
                      <a:pt x="1546" y="1266"/>
                    </a:cubicBezTo>
                    <a:cubicBezTo>
                      <a:pt x="132" y="1266"/>
                      <a:pt x="132" y="1266"/>
                      <a:pt x="132" y="1266"/>
                    </a:cubicBezTo>
                    <a:cubicBezTo>
                      <a:pt x="120" y="1266"/>
                      <a:pt x="110" y="1276"/>
                      <a:pt x="110" y="1288"/>
                    </a:cubicBezTo>
                    <a:cubicBezTo>
                      <a:pt x="110" y="1332"/>
                      <a:pt x="110" y="1332"/>
                      <a:pt x="110" y="1332"/>
                    </a:cubicBezTo>
                    <a:cubicBezTo>
                      <a:pt x="22" y="1332"/>
                      <a:pt x="22" y="1332"/>
                      <a:pt x="22" y="1332"/>
                    </a:cubicBezTo>
                    <a:cubicBezTo>
                      <a:pt x="10" y="1332"/>
                      <a:pt x="0" y="1342"/>
                      <a:pt x="0" y="1354"/>
                    </a:cubicBezTo>
                    <a:cubicBezTo>
                      <a:pt x="0" y="1472"/>
                      <a:pt x="0" y="1472"/>
                      <a:pt x="0" y="1472"/>
                    </a:cubicBezTo>
                    <a:cubicBezTo>
                      <a:pt x="0" y="1484"/>
                      <a:pt x="10" y="1494"/>
                      <a:pt x="22" y="1494"/>
                    </a:cubicBezTo>
                    <a:cubicBezTo>
                      <a:pt x="1656" y="1494"/>
                      <a:pt x="1656" y="1494"/>
                      <a:pt x="1656" y="1494"/>
                    </a:cubicBezTo>
                    <a:cubicBezTo>
                      <a:pt x="1668" y="1494"/>
                      <a:pt x="1678" y="1484"/>
                      <a:pt x="1678" y="1472"/>
                    </a:cubicBezTo>
                    <a:cubicBezTo>
                      <a:pt x="1678" y="1354"/>
                      <a:pt x="1678" y="1354"/>
                      <a:pt x="1678" y="1354"/>
                    </a:cubicBezTo>
                    <a:cubicBezTo>
                      <a:pt x="1678" y="1342"/>
                      <a:pt x="1668" y="1332"/>
                      <a:pt x="1656" y="1332"/>
                    </a:cubicBezTo>
                    <a:close/>
                    <a:moveTo>
                      <a:pt x="1645" y="375"/>
                    </a:moveTo>
                    <a:cubicBezTo>
                      <a:pt x="1314" y="375"/>
                      <a:pt x="1314" y="375"/>
                      <a:pt x="1314" y="375"/>
                    </a:cubicBezTo>
                    <a:cubicBezTo>
                      <a:pt x="1289" y="271"/>
                      <a:pt x="1230" y="177"/>
                      <a:pt x="1147" y="109"/>
                    </a:cubicBezTo>
                    <a:cubicBezTo>
                      <a:pt x="1060" y="38"/>
                      <a:pt x="951" y="0"/>
                      <a:pt x="839" y="0"/>
                    </a:cubicBezTo>
                    <a:cubicBezTo>
                      <a:pt x="728" y="0"/>
                      <a:pt x="619" y="38"/>
                      <a:pt x="532" y="108"/>
                    </a:cubicBezTo>
                    <a:cubicBezTo>
                      <a:pt x="448" y="176"/>
                      <a:pt x="389" y="271"/>
                      <a:pt x="364" y="375"/>
                    </a:cubicBezTo>
                    <a:cubicBezTo>
                      <a:pt x="33" y="375"/>
                      <a:pt x="33" y="375"/>
                      <a:pt x="33" y="375"/>
                    </a:cubicBezTo>
                    <a:cubicBezTo>
                      <a:pt x="21" y="375"/>
                      <a:pt x="11" y="385"/>
                      <a:pt x="11" y="397"/>
                    </a:cubicBezTo>
                    <a:cubicBezTo>
                      <a:pt x="11" y="528"/>
                      <a:pt x="11" y="528"/>
                      <a:pt x="11" y="528"/>
                    </a:cubicBezTo>
                    <a:cubicBezTo>
                      <a:pt x="11" y="540"/>
                      <a:pt x="21" y="550"/>
                      <a:pt x="33" y="550"/>
                    </a:cubicBezTo>
                    <a:cubicBezTo>
                      <a:pt x="1645" y="550"/>
                      <a:pt x="1645" y="550"/>
                      <a:pt x="1645" y="550"/>
                    </a:cubicBezTo>
                    <a:cubicBezTo>
                      <a:pt x="1657" y="550"/>
                      <a:pt x="1667" y="540"/>
                      <a:pt x="1667" y="528"/>
                    </a:cubicBezTo>
                    <a:cubicBezTo>
                      <a:pt x="1667" y="397"/>
                      <a:pt x="1667" y="397"/>
                      <a:pt x="1667" y="397"/>
                    </a:cubicBezTo>
                    <a:cubicBezTo>
                      <a:pt x="1667" y="385"/>
                      <a:pt x="1657" y="375"/>
                      <a:pt x="1645" y="375"/>
                    </a:cubicBezTo>
                    <a:close/>
                    <a:moveTo>
                      <a:pt x="839" y="44"/>
                    </a:moveTo>
                    <a:cubicBezTo>
                      <a:pt x="1040" y="44"/>
                      <a:pt x="1218" y="182"/>
                      <a:pt x="1269" y="375"/>
                    </a:cubicBezTo>
                    <a:cubicBezTo>
                      <a:pt x="409" y="375"/>
                      <a:pt x="409" y="375"/>
                      <a:pt x="409" y="375"/>
                    </a:cubicBezTo>
                    <a:cubicBezTo>
                      <a:pt x="460" y="179"/>
                      <a:pt x="635" y="44"/>
                      <a:pt x="839" y="44"/>
                    </a:cubicBezTo>
                    <a:close/>
                    <a:moveTo>
                      <a:pt x="1623" y="506"/>
                    </a:moveTo>
                    <a:cubicBezTo>
                      <a:pt x="55" y="506"/>
                      <a:pt x="55" y="506"/>
                      <a:pt x="55" y="506"/>
                    </a:cubicBezTo>
                    <a:cubicBezTo>
                      <a:pt x="55" y="419"/>
                      <a:pt x="55" y="419"/>
                      <a:pt x="55" y="419"/>
                    </a:cubicBezTo>
                    <a:cubicBezTo>
                      <a:pt x="1623" y="419"/>
                      <a:pt x="1623" y="419"/>
                      <a:pt x="1623" y="419"/>
                    </a:cubicBezTo>
                    <a:lnTo>
                      <a:pt x="1623" y="506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75" name="Freeform 11">
                <a:extLst>
                  <a:ext uri="{FF2B5EF4-FFF2-40B4-BE49-F238E27FC236}">
                    <a16:creationId xmlns:a16="http://schemas.microsoft.com/office/drawing/2014/main" xmlns="" id="{D28EC961-55AD-42D5-BE87-6917C8C8FF97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25" y="298"/>
                <a:ext cx="2630" cy="3034"/>
              </a:xfrm>
              <a:custGeom>
                <a:avLst/>
                <a:gdLst>
                  <a:gd name="T0" fmla="*/ 12 w 1404"/>
                  <a:gd name="T1" fmla="*/ 1032 h 1618"/>
                  <a:gd name="T2" fmla="*/ 105 w 1404"/>
                  <a:gd name="T3" fmla="*/ 1022 h 1618"/>
                  <a:gd name="T4" fmla="*/ 127 w 1404"/>
                  <a:gd name="T5" fmla="*/ 1608 h 1618"/>
                  <a:gd name="T6" fmla="*/ 10 w 1404"/>
                  <a:gd name="T7" fmla="*/ 1618 h 1618"/>
                  <a:gd name="T8" fmla="*/ 1031 w 1404"/>
                  <a:gd name="T9" fmla="*/ 1618 h 1618"/>
                  <a:gd name="T10" fmla="*/ 1149 w 1404"/>
                  <a:gd name="T11" fmla="*/ 1608 h 1618"/>
                  <a:gd name="T12" fmla="*/ 1127 w 1404"/>
                  <a:gd name="T13" fmla="*/ 1022 h 1618"/>
                  <a:gd name="T14" fmla="*/ 1033 w 1404"/>
                  <a:gd name="T15" fmla="*/ 1032 h 1618"/>
                  <a:gd name="T16" fmla="*/ 1031 w 1404"/>
                  <a:gd name="T17" fmla="*/ 1618 h 1618"/>
                  <a:gd name="T18" fmla="*/ 1394 w 1404"/>
                  <a:gd name="T19" fmla="*/ 1618 h 1618"/>
                  <a:gd name="T20" fmla="*/ 1392 w 1404"/>
                  <a:gd name="T21" fmla="*/ 1032 h 1618"/>
                  <a:gd name="T22" fmla="*/ 1299 w 1404"/>
                  <a:gd name="T23" fmla="*/ 1022 h 1618"/>
                  <a:gd name="T24" fmla="*/ 1277 w 1404"/>
                  <a:gd name="T25" fmla="*/ 1608 h 1618"/>
                  <a:gd name="T26" fmla="*/ 776 w 1404"/>
                  <a:gd name="T27" fmla="*/ 1618 h 1618"/>
                  <a:gd name="T28" fmla="*/ 894 w 1404"/>
                  <a:gd name="T29" fmla="*/ 1608 h 1618"/>
                  <a:gd name="T30" fmla="*/ 871 w 1404"/>
                  <a:gd name="T31" fmla="*/ 1022 h 1618"/>
                  <a:gd name="T32" fmla="*/ 778 w 1404"/>
                  <a:gd name="T33" fmla="*/ 1032 h 1618"/>
                  <a:gd name="T34" fmla="*/ 776 w 1404"/>
                  <a:gd name="T35" fmla="*/ 1618 h 1618"/>
                  <a:gd name="T36" fmla="*/ 628 w 1404"/>
                  <a:gd name="T37" fmla="*/ 1618 h 1618"/>
                  <a:gd name="T38" fmla="*/ 626 w 1404"/>
                  <a:gd name="T39" fmla="*/ 1032 h 1618"/>
                  <a:gd name="T40" fmla="*/ 533 w 1404"/>
                  <a:gd name="T41" fmla="*/ 1022 h 1618"/>
                  <a:gd name="T42" fmla="*/ 510 w 1404"/>
                  <a:gd name="T43" fmla="*/ 1608 h 1618"/>
                  <a:gd name="T44" fmla="*/ 265 w 1404"/>
                  <a:gd name="T45" fmla="*/ 1618 h 1618"/>
                  <a:gd name="T46" fmla="*/ 383 w 1404"/>
                  <a:gd name="T47" fmla="*/ 1608 h 1618"/>
                  <a:gd name="T48" fmla="*/ 361 w 1404"/>
                  <a:gd name="T49" fmla="*/ 1022 h 1618"/>
                  <a:gd name="T50" fmla="*/ 267 w 1404"/>
                  <a:gd name="T51" fmla="*/ 1032 h 1618"/>
                  <a:gd name="T52" fmla="*/ 265 w 1404"/>
                  <a:gd name="T53" fmla="*/ 1618 h 1618"/>
                  <a:gd name="T54" fmla="*/ 702 w 1404"/>
                  <a:gd name="T55" fmla="*/ 368 h 1618"/>
                  <a:gd name="T56" fmla="*/ 727 w 1404"/>
                  <a:gd name="T57" fmla="*/ 200 h 1618"/>
                  <a:gd name="T58" fmla="*/ 1036 w 1404"/>
                  <a:gd name="T59" fmla="*/ 193 h 1618"/>
                  <a:gd name="T60" fmla="*/ 959 w 1404"/>
                  <a:gd name="T61" fmla="*/ 101 h 1618"/>
                  <a:gd name="T62" fmla="*/ 1040 w 1404"/>
                  <a:gd name="T63" fmla="*/ 11 h 1618"/>
                  <a:gd name="T64" fmla="*/ 720 w 1404"/>
                  <a:gd name="T65" fmla="*/ 0 h 1618"/>
                  <a:gd name="T66" fmla="*/ 681 w 1404"/>
                  <a:gd name="T67" fmla="*/ 0 h 1618"/>
                  <a:gd name="T68" fmla="*/ 675 w 1404"/>
                  <a:gd name="T69" fmla="*/ 193 h 1618"/>
                  <a:gd name="T70" fmla="*/ 675 w 1404"/>
                  <a:gd name="T71" fmla="*/ 368 h 161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04" h="1618">
                    <a:moveTo>
                      <a:pt x="0" y="1608"/>
                    </a:moveTo>
                    <a:cubicBezTo>
                      <a:pt x="12" y="1032"/>
                      <a:pt x="12" y="1032"/>
                      <a:pt x="12" y="1032"/>
                    </a:cubicBezTo>
                    <a:cubicBezTo>
                      <a:pt x="12" y="1027"/>
                      <a:pt x="16" y="1022"/>
                      <a:pt x="22" y="1022"/>
                    </a:cubicBezTo>
                    <a:cubicBezTo>
                      <a:pt x="105" y="1022"/>
                      <a:pt x="105" y="1022"/>
                      <a:pt x="105" y="1022"/>
                    </a:cubicBezTo>
                    <a:cubicBezTo>
                      <a:pt x="111" y="1022"/>
                      <a:pt x="115" y="1027"/>
                      <a:pt x="115" y="1032"/>
                    </a:cubicBezTo>
                    <a:cubicBezTo>
                      <a:pt x="127" y="1608"/>
                      <a:pt x="127" y="1608"/>
                      <a:pt x="127" y="1608"/>
                    </a:cubicBezTo>
                    <a:cubicBezTo>
                      <a:pt x="127" y="1613"/>
                      <a:pt x="123" y="1618"/>
                      <a:pt x="117" y="1618"/>
                    </a:cubicBezTo>
                    <a:cubicBezTo>
                      <a:pt x="10" y="1618"/>
                      <a:pt x="10" y="1618"/>
                      <a:pt x="10" y="1618"/>
                    </a:cubicBezTo>
                    <a:cubicBezTo>
                      <a:pt x="4" y="1618"/>
                      <a:pt x="0" y="1613"/>
                      <a:pt x="0" y="1608"/>
                    </a:cubicBezTo>
                    <a:close/>
                    <a:moveTo>
                      <a:pt x="1031" y="1618"/>
                    </a:moveTo>
                    <a:cubicBezTo>
                      <a:pt x="1139" y="1618"/>
                      <a:pt x="1139" y="1618"/>
                      <a:pt x="1139" y="1618"/>
                    </a:cubicBezTo>
                    <a:cubicBezTo>
                      <a:pt x="1144" y="1618"/>
                      <a:pt x="1149" y="1613"/>
                      <a:pt x="1149" y="1608"/>
                    </a:cubicBezTo>
                    <a:cubicBezTo>
                      <a:pt x="1137" y="1032"/>
                      <a:pt x="1137" y="1032"/>
                      <a:pt x="1137" y="1032"/>
                    </a:cubicBezTo>
                    <a:cubicBezTo>
                      <a:pt x="1137" y="1027"/>
                      <a:pt x="1132" y="1022"/>
                      <a:pt x="1127" y="1022"/>
                    </a:cubicBezTo>
                    <a:cubicBezTo>
                      <a:pt x="1043" y="1022"/>
                      <a:pt x="1043" y="1022"/>
                      <a:pt x="1043" y="1022"/>
                    </a:cubicBezTo>
                    <a:cubicBezTo>
                      <a:pt x="1038" y="1022"/>
                      <a:pt x="1033" y="1027"/>
                      <a:pt x="1033" y="1032"/>
                    </a:cubicBezTo>
                    <a:cubicBezTo>
                      <a:pt x="1021" y="1608"/>
                      <a:pt x="1021" y="1608"/>
                      <a:pt x="1021" y="1608"/>
                    </a:cubicBezTo>
                    <a:cubicBezTo>
                      <a:pt x="1021" y="1613"/>
                      <a:pt x="1026" y="1618"/>
                      <a:pt x="1031" y="1618"/>
                    </a:cubicBezTo>
                    <a:close/>
                    <a:moveTo>
                      <a:pt x="1287" y="1618"/>
                    </a:moveTo>
                    <a:cubicBezTo>
                      <a:pt x="1394" y="1618"/>
                      <a:pt x="1394" y="1618"/>
                      <a:pt x="1394" y="1618"/>
                    </a:cubicBezTo>
                    <a:cubicBezTo>
                      <a:pt x="1400" y="1618"/>
                      <a:pt x="1404" y="1613"/>
                      <a:pt x="1404" y="1608"/>
                    </a:cubicBezTo>
                    <a:cubicBezTo>
                      <a:pt x="1392" y="1032"/>
                      <a:pt x="1392" y="1032"/>
                      <a:pt x="1392" y="1032"/>
                    </a:cubicBezTo>
                    <a:cubicBezTo>
                      <a:pt x="1392" y="1027"/>
                      <a:pt x="1388" y="1022"/>
                      <a:pt x="1382" y="1022"/>
                    </a:cubicBezTo>
                    <a:cubicBezTo>
                      <a:pt x="1299" y="1022"/>
                      <a:pt x="1299" y="1022"/>
                      <a:pt x="1299" y="1022"/>
                    </a:cubicBezTo>
                    <a:cubicBezTo>
                      <a:pt x="1293" y="1022"/>
                      <a:pt x="1289" y="1027"/>
                      <a:pt x="1289" y="1032"/>
                    </a:cubicBezTo>
                    <a:cubicBezTo>
                      <a:pt x="1277" y="1608"/>
                      <a:pt x="1277" y="1608"/>
                      <a:pt x="1277" y="1608"/>
                    </a:cubicBezTo>
                    <a:cubicBezTo>
                      <a:pt x="1277" y="1613"/>
                      <a:pt x="1281" y="1618"/>
                      <a:pt x="1287" y="1618"/>
                    </a:cubicBezTo>
                    <a:close/>
                    <a:moveTo>
                      <a:pt x="776" y="1618"/>
                    </a:moveTo>
                    <a:cubicBezTo>
                      <a:pt x="883" y="1618"/>
                      <a:pt x="883" y="1618"/>
                      <a:pt x="883" y="1618"/>
                    </a:cubicBezTo>
                    <a:cubicBezTo>
                      <a:pt x="889" y="1618"/>
                      <a:pt x="894" y="1613"/>
                      <a:pt x="894" y="1608"/>
                    </a:cubicBezTo>
                    <a:cubicBezTo>
                      <a:pt x="881" y="1032"/>
                      <a:pt x="881" y="1032"/>
                      <a:pt x="881" y="1032"/>
                    </a:cubicBezTo>
                    <a:cubicBezTo>
                      <a:pt x="881" y="1027"/>
                      <a:pt x="877" y="1022"/>
                      <a:pt x="871" y="1022"/>
                    </a:cubicBezTo>
                    <a:cubicBezTo>
                      <a:pt x="788" y="1022"/>
                      <a:pt x="788" y="1022"/>
                      <a:pt x="788" y="1022"/>
                    </a:cubicBezTo>
                    <a:cubicBezTo>
                      <a:pt x="782" y="1022"/>
                      <a:pt x="778" y="1027"/>
                      <a:pt x="778" y="1032"/>
                    </a:cubicBezTo>
                    <a:cubicBezTo>
                      <a:pt x="766" y="1608"/>
                      <a:pt x="766" y="1608"/>
                      <a:pt x="766" y="1608"/>
                    </a:cubicBezTo>
                    <a:cubicBezTo>
                      <a:pt x="766" y="1613"/>
                      <a:pt x="770" y="1618"/>
                      <a:pt x="776" y="1618"/>
                    </a:cubicBezTo>
                    <a:close/>
                    <a:moveTo>
                      <a:pt x="521" y="1618"/>
                    </a:moveTo>
                    <a:cubicBezTo>
                      <a:pt x="628" y="1618"/>
                      <a:pt x="628" y="1618"/>
                      <a:pt x="628" y="1618"/>
                    </a:cubicBezTo>
                    <a:cubicBezTo>
                      <a:pt x="634" y="1618"/>
                      <a:pt x="638" y="1613"/>
                      <a:pt x="638" y="1608"/>
                    </a:cubicBezTo>
                    <a:cubicBezTo>
                      <a:pt x="626" y="1032"/>
                      <a:pt x="626" y="1032"/>
                      <a:pt x="626" y="1032"/>
                    </a:cubicBezTo>
                    <a:cubicBezTo>
                      <a:pt x="626" y="1027"/>
                      <a:pt x="622" y="1022"/>
                      <a:pt x="616" y="1022"/>
                    </a:cubicBezTo>
                    <a:cubicBezTo>
                      <a:pt x="533" y="1022"/>
                      <a:pt x="533" y="1022"/>
                      <a:pt x="533" y="1022"/>
                    </a:cubicBezTo>
                    <a:cubicBezTo>
                      <a:pt x="527" y="1022"/>
                      <a:pt x="523" y="1027"/>
                      <a:pt x="523" y="1032"/>
                    </a:cubicBezTo>
                    <a:cubicBezTo>
                      <a:pt x="510" y="1608"/>
                      <a:pt x="510" y="1608"/>
                      <a:pt x="510" y="1608"/>
                    </a:cubicBezTo>
                    <a:cubicBezTo>
                      <a:pt x="510" y="1613"/>
                      <a:pt x="515" y="1618"/>
                      <a:pt x="521" y="1618"/>
                    </a:cubicBezTo>
                    <a:close/>
                    <a:moveTo>
                      <a:pt x="265" y="1618"/>
                    </a:moveTo>
                    <a:cubicBezTo>
                      <a:pt x="373" y="1618"/>
                      <a:pt x="373" y="1618"/>
                      <a:pt x="373" y="1618"/>
                    </a:cubicBezTo>
                    <a:cubicBezTo>
                      <a:pt x="378" y="1618"/>
                      <a:pt x="383" y="1613"/>
                      <a:pt x="383" y="1608"/>
                    </a:cubicBezTo>
                    <a:cubicBezTo>
                      <a:pt x="371" y="1032"/>
                      <a:pt x="371" y="1032"/>
                      <a:pt x="371" y="1032"/>
                    </a:cubicBezTo>
                    <a:cubicBezTo>
                      <a:pt x="371" y="1027"/>
                      <a:pt x="366" y="1022"/>
                      <a:pt x="361" y="1022"/>
                    </a:cubicBezTo>
                    <a:cubicBezTo>
                      <a:pt x="277" y="1022"/>
                      <a:pt x="277" y="1022"/>
                      <a:pt x="277" y="1022"/>
                    </a:cubicBezTo>
                    <a:cubicBezTo>
                      <a:pt x="272" y="1022"/>
                      <a:pt x="267" y="1027"/>
                      <a:pt x="267" y="1032"/>
                    </a:cubicBezTo>
                    <a:cubicBezTo>
                      <a:pt x="255" y="1608"/>
                      <a:pt x="255" y="1608"/>
                      <a:pt x="255" y="1608"/>
                    </a:cubicBezTo>
                    <a:cubicBezTo>
                      <a:pt x="255" y="1613"/>
                      <a:pt x="260" y="1618"/>
                      <a:pt x="265" y="1618"/>
                    </a:cubicBezTo>
                    <a:close/>
                    <a:moveTo>
                      <a:pt x="675" y="368"/>
                    </a:moveTo>
                    <a:cubicBezTo>
                      <a:pt x="684" y="368"/>
                      <a:pt x="693" y="368"/>
                      <a:pt x="702" y="368"/>
                    </a:cubicBezTo>
                    <a:cubicBezTo>
                      <a:pt x="710" y="368"/>
                      <a:pt x="718" y="368"/>
                      <a:pt x="727" y="368"/>
                    </a:cubicBezTo>
                    <a:cubicBezTo>
                      <a:pt x="727" y="200"/>
                      <a:pt x="727" y="200"/>
                      <a:pt x="727" y="200"/>
                    </a:cubicBezTo>
                    <a:cubicBezTo>
                      <a:pt x="727" y="196"/>
                      <a:pt x="730" y="193"/>
                      <a:pt x="733" y="193"/>
                    </a:cubicBezTo>
                    <a:cubicBezTo>
                      <a:pt x="1036" y="193"/>
                      <a:pt x="1036" y="193"/>
                      <a:pt x="1036" y="193"/>
                    </a:cubicBezTo>
                    <a:cubicBezTo>
                      <a:pt x="1042" y="193"/>
                      <a:pt x="1044" y="186"/>
                      <a:pt x="1040" y="182"/>
                    </a:cubicBezTo>
                    <a:cubicBezTo>
                      <a:pt x="959" y="101"/>
                      <a:pt x="959" y="101"/>
                      <a:pt x="959" y="101"/>
                    </a:cubicBezTo>
                    <a:cubicBezTo>
                      <a:pt x="957" y="99"/>
                      <a:pt x="957" y="95"/>
                      <a:pt x="959" y="92"/>
                    </a:cubicBezTo>
                    <a:cubicBezTo>
                      <a:pt x="1040" y="11"/>
                      <a:pt x="1040" y="11"/>
                      <a:pt x="1040" y="11"/>
                    </a:cubicBezTo>
                    <a:cubicBezTo>
                      <a:pt x="1044" y="7"/>
                      <a:pt x="1042" y="0"/>
                      <a:pt x="1036" y="0"/>
                    </a:cubicBezTo>
                    <a:cubicBezTo>
                      <a:pt x="720" y="0"/>
                      <a:pt x="720" y="0"/>
                      <a:pt x="720" y="0"/>
                    </a:cubicBezTo>
                    <a:cubicBezTo>
                      <a:pt x="681" y="0"/>
                      <a:pt x="681" y="0"/>
                      <a:pt x="681" y="0"/>
                    </a:cubicBezTo>
                    <a:cubicBezTo>
                      <a:pt x="681" y="0"/>
                      <a:pt x="681" y="0"/>
                      <a:pt x="681" y="0"/>
                    </a:cubicBezTo>
                    <a:cubicBezTo>
                      <a:pt x="678" y="0"/>
                      <a:pt x="675" y="3"/>
                      <a:pt x="675" y="7"/>
                    </a:cubicBezTo>
                    <a:cubicBezTo>
                      <a:pt x="675" y="193"/>
                      <a:pt x="675" y="193"/>
                      <a:pt x="675" y="193"/>
                    </a:cubicBezTo>
                    <a:cubicBezTo>
                      <a:pt x="675" y="193"/>
                      <a:pt x="675" y="193"/>
                      <a:pt x="675" y="193"/>
                    </a:cubicBezTo>
                    <a:lnTo>
                      <a:pt x="675" y="368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</p:grpSp>
      </p:grpSp>
      <p:grpSp>
        <p:nvGrpSpPr>
          <p:cNvPr id="85" name="Group 84"/>
          <p:cNvGrpSpPr/>
          <p:nvPr/>
        </p:nvGrpSpPr>
        <p:grpSpPr>
          <a:xfrm>
            <a:off x="2544881" y="2474080"/>
            <a:ext cx="449642" cy="449781"/>
            <a:chOff x="5281288" y="3248060"/>
            <a:chExt cx="599523" cy="599523"/>
          </a:xfrm>
        </p:grpSpPr>
        <p:sp>
          <p:nvSpPr>
            <p:cNvPr id="61" name="Oval 60"/>
            <p:cNvSpPr/>
            <p:nvPr/>
          </p:nvSpPr>
          <p:spPr>
            <a:xfrm>
              <a:off x="5281288" y="3248060"/>
              <a:ext cx="599523" cy="599523"/>
            </a:xfrm>
            <a:prstGeom prst="ellipse">
              <a:avLst/>
            </a:prstGeom>
            <a:solidFill>
              <a:srgbClr val="FFFFFF"/>
            </a:solidFill>
            <a:ln w="19050">
              <a:gradFill flip="none" rotWithShape="1">
                <a:gsLst>
                  <a:gs pos="0">
                    <a:schemeClr val="accent5"/>
                  </a:gs>
                  <a:gs pos="100000">
                    <a:schemeClr val="bg1">
                      <a:lumMod val="75000"/>
                    </a:schemeClr>
                  </a:gs>
                </a:gsLst>
                <a:lin ang="2700000" scaled="1"/>
                <a:tileRect/>
              </a:gra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ct val="95000"/>
                </a:lnSpc>
              </a:pPr>
              <a:endParaRPr lang="ru-RU" kern="0" dirty="0" err="1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grpSp>
          <p:nvGrpSpPr>
            <p:cNvPr id="68" name="bcgIcons_Business">
              <a:extLst>
                <a:ext uri="{FF2B5EF4-FFF2-40B4-BE49-F238E27FC236}">
                  <a16:creationId xmlns:a16="http://schemas.microsoft.com/office/drawing/2014/main" xmlns="" id="{F11F0F91-BD01-4054-BC58-4C7806294F28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5379500" y="3346084"/>
              <a:ext cx="403098" cy="403472"/>
              <a:chOff x="1682" y="0"/>
              <a:chExt cx="4316" cy="4320"/>
            </a:xfrm>
          </p:grpSpPr>
          <p:sp>
            <p:nvSpPr>
              <p:cNvPr id="69" name="AutoShape 8">
                <a:extLst>
                  <a:ext uri="{FF2B5EF4-FFF2-40B4-BE49-F238E27FC236}">
                    <a16:creationId xmlns:a16="http://schemas.microsoft.com/office/drawing/2014/main" xmlns="" id="{F19CA9FC-3CF3-46C0-B394-626DEC865239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70" name="Freeform 10">
                <a:extLst>
                  <a:ext uri="{FF2B5EF4-FFF2-40B4-BE49-F238E27FC236}">
                    <a16:creationId xmlns:a16="http://schemas.microsoft.com/office/drawing/2014/main" xmlns="" id="{F4F629CB-F385-497A-85E0-F3F6A2C41A1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90" y="1438"/>
                <a:ext cx="3297" cy="1088"/>
              </a:xfrm>
              <a:custGeom>
                <a:avLst/>
                <a:gdLst>
                  <a:gd name="T0" fmla="*/ 1756 w 1760"/>
                  <a:gd name="T1" fmla="*/ 0 h 580"/>
                  <a:gd name="T2" fmla="*/ 4 w 1760"/>
                  <a:gd name="T3" fmla="*/ 0 h 580"/>
                  <a:gd name="T4" fmla="*/ 0 w 1760"/>
                  <a:gd name="T5" fmla="*/ 4 h 580"/>
                  <a:gd name="T6" fmla="*/ 0 w 1760"/>
                  <a:gd name="T7" fmla="*/ 8 h 580"/>
                  <a:gd name="T8" fmla="*/ 213 w 1760"/>
                  <a:gd name="T9" fmla="*/ 475 h 580"/>
                  <a:gd name="T10" fmla="*/ 445 w 1760"/>
                  <a:gd name="T11" fmla="*/ 580 h 580"/>
                  <a:gd name="T12" fmla="*/ 729 w 1760"/>
                  <a:gd name="T13" fmla="*/ 580 h 580"/>
                  <a:gd name="T14" fmla="*/ 729 w 1760"/>
                  <a:gd name="T15" fmla="*/ 487 h 580"/>
                  <a:gd name="T16" fmla="*/ 803 w 1760"/>
                  <a:gd name="T17" fmla="*/ 413 h 580"/>
                  <a:gd name="T18" fmla="*/ 957 w 1760"/>
                  <a:gd name="T19" fmla="*/ 413 h 580"/>
                  <a:gd name="T20" fmla="*/ 1031 w 1760"/>
                  <a:gd name="T21" fmla="*/ 487 h 580"/>
                  <a:gd name="T22" fmla="*/ 1031 w 1760"/>
                  <a:gd name="T23" fmla="*/ 580 h 580"/>
                  <a:gd name="T24" fmla="*/ 1297 w 1760"/>
                  <a:gd name="T25" fmla="*/ 580 h 580"/>
                  <a:gd name="T26" fmla="*/ 1529 w 1760"/>
                  <a:gd name="T27" fmla="*/ 475 h 580"/>
                  <a:gd name="T28" fmla="*/ 1760 w 1760"/>
                  <a:gd name="T29" fmla="*/ 8 h 580"/>
                  <a:gd name="T30" fmla="*/ 1760 w 1760"/>
                  <a:gd name="T31" fmla="*/ 4 h 580"/>
                  <a:gd name="T32" fmla="*/ 1756 w 1760"/>
                  <a:gd name="T33" fmla="*/ 0 h 58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1760" h="580">
                    <a:moveTo>
                      <a:pt x="1756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0"/>
                      <a:pt x="0" y="2"/>
                      <a:pt x="0" y="4"/>
                    </a:cubicBezTo>
                    <a:cubicBezTo>
                      <a:pt x="0" y="8"/>
                      <a:pt x="0" y="8"/>
                      <a:pt x="0" y="8"/>
                    </a:cubicBezTo>
                    <a:cubicBezTo>
                      <a:pt x="0" y="8"/>
                      <a:pt x="92" y="308"/>
                      <a:pt x="213" y="475"/>
                    </a:cubicBezTo>
                    <a:cubicBezTo>
                      <a:pt x="289" y="579"/>
                      <a:pt x="307" y="580"/>
                      <a:pt x="445" y="580"/>
                    </a:cubicBezTo>
                    <a:cubicBezTo>
                      <a:pt x="729" y="580"/>
                      <a:pt x="729" y="580"/>
                      <a:pt x="729" y="580"/>
                    </a:cubicBezTo>
                    <a:cubicBezTo>
                      <a:pt x="729" y="487"/>
                      <a:pt x="729" y="487"/>
                      <a:pt x="729" y="487"/>
                    </a:cubicBezTo>
                    <a:cubicBezTo>
                      <a:pt x="729" y="447"/>
                      <a:pt x="763" y="413"/>
                      <a:pt x="803" y="413"/>
                    </a:cubicBezTo>
                    <a:cubicBezTo>
                      <a:pt x="957" y="413"/>
                      <a:pt x="957" y="413"/>
                      <a:pt x="957" y="413"/>
                    </a:cubicBezTo>
                    <a:cubicBezTo>
                      <a:pt x="997" y="413"/>
                      <a:pt x="1031" y="447"/>
                      <a:pt x="1031" y="487"/>
                    </a:cubicBezTo>
                    <a:cubicBezTo>
                      <a:pt x="1031" y="580"/>
                      <a:pt x="1031" y="580"/>
                      <a:pt x="1031" y="580"/>
                    </a:cubicBezTo>
                    <a:cubicBezTo>
                      <a:pt x="1297" y="580"/>
                      <a:pt x="1297" y="580"/>
                      <a:pt x="1297" y="580"/>
                    </a:cubicBezTo>
                    <a:cubicBezTo>
                      <a:pt x="1419" y="580"/>
                      <a:pt x="1463" y="568"/>
                      <a:pt x="1529" y="475"/>
                    </a:cubicBezTo>
                    <a:cubicBezTo>
                      <a:pt x="1652" y="303"/>
                      <a:pt x="1760" y="8"/>
                      <a:pt x="1760" y="8"/>
                    </a:cubicBezTo>
                    <a:cubicBezTo>
                      <a:pt x="1760" y="4"/>
                      <a:pt x="1760" y="4"/>
                      <a:pt x="1760" y="4"/>
                    </a:cubicBezTo>
                    <a:cubicBezTo>
                      <a:pt x="1760" y="2"/>
                      <a:pt x="1758" y="0"/>
                      <a:pt x="1756" y="0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71" name="Freeform 11">
                <a:extLst>
                  <a:ext uri="{FF2B5EF4-FFF2-40B4-BE49-F238E27FC236}">
                    <a16:creationId xmlns:a16="http://schemas.microsoft.com/office/drawing/2014/main" xmlns="" id="{16B26A2C-1E07-47E2-A20B-A5A6553F99F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111" y="667"/>
                <a:ext cx="3454" cy="2972"/>
              </a:xfrm>
              <a:custGeom>
                <a:avLst/>
                <a:gdLst>
                  <a:gd name="T0" fmla="*/ 517 w 1844"/>
                  <a:gd name="T1" fmla="*/ 329 h 1585"/>
                  <a:gd name="T2" fmla="*/ 517 w 1844"/>
                  <a:gd name="T3" fmla="*/ 154 h 1585"/>
                  <a:gd name="T4" fmla="*/ 670 w 1844"/>
                  <a:gd name="T5" fmla="*/ 0 h 1585"/>
                  <a:gd name="T6" fmla="*/ 1174 w 1844"/>
                  <a:gd name="T7" fmla="*/ 0 h 1585"/>
                  <a:gd name="T8" fmla="*/ 1327 w 1844"/>
                  <a:gd name="T9" fmla="*/ 154 h 1585"/>
                  <a:gd name="T10" fmla="*/ 1327 w 1844"/>
                  <a:gd name="T11" fmla="*/ 329 h 1585"/>
                  <a:gd name="T12" fmla="*/ 1239 w 1844"/>
                  <a:gd name="T13" fmla="*/ 329 h 1585"/>
                  <a:gd name="T14" fmla="*/ 1239 w 1844"/>
                  <a:gd name="T15" fmla="*/ 154 h 1585"/>
                  <a:gd name="T16" fmla="*/ 1174 w 1844"/>
                  <a:gd name="T17" fmla="*/ 88 h 1585"/>
                  <a:gd name="T18" fmla="*/ 670 w 1844"/>
                  <a:gd name="T19" fmla="*/ 88 h 1585"/>
                  <a:gd name="T20" fmla="*/ 605 w 1844"/>
                  <a:gd name="T21" fmla="*/ 154 h 1585"/>
                  <a:gd name="T22" fmla="*/ 605 w 1844"/>
                  <a:gd name="T23" fmla="*/ 329 h 1585"/>
                  <a:gd name="T24" fmla="*/ 517 w 1844"/>
                  <a:gd name="T25" fmla="*/ 329 h 1585"/>
                  <a:gd name="T26" fmla="*/ 1844 w 1844"/>
                  <a:gd name="T27" fmla="*/ 1541 h 1585"/>
                  <a:gd name="T28" fmla="*/ 1844 w 1844"/>
                  <a:gd name="T29" fmla="*/ 413 h 1585"/>
                  <a:gd name="T30" fmla="*/ 1800 w 1844"/>
                  <a:gd name="T31" fmla="*/ 369 h 1585"/>
                  <a:gd name="T32" fmla="*/ 44 w 1844"/>
                  <a:gd name="T33" fmla="*/ 369 h 1585"/>
                  <a:gd name="T34" fmla="*/ 0 w 1844"/>
                  <a:gd name="T35" fmla="*/ 413 h 1585"/>
                  <a:gd name="T36" fmla="*/ 0 w 1844"/>
                  <a:gd name="T37" fmla="*/ 1541 h 1585"/>
                  <a:gd name="T38" fmla="*/ 44 w 1844"/>
                  <a:gd name="T39" fmla="*/ 1585 h 1585"/>
                  <a:gd name="T40" fmla="*/ 1800 w 1844"/>
                  <a:gd name="T41" fmla="*/ 1585 h 1585"/>
                  <a:gd name="T42" fmla="*/ 1844 w 1844"/>
                  <a:gd name="T43" fmla="*/ 1541 h 1585"/>
                  <a:gd name="T44" fmla="*/ 1800 w 1844"/>
                  <a:gd name="T45" fmla="*/ 413 h 1585"/>
                  <a:gd name="T46" fmla="*/ 1800 w 1844"/>
                  <a:gd name="T47" fmla="*/ 1541 h 1585"/>
                  <a:gd name="T48" fmla="*/ 44 w 1844"/>
                  <a:gd name="T49" fmla="*/ 1541 h 1585"/>
                  <a:gd name="T50" fmla="*/ 44 w 1844"/>
                  <a:gd name="T51" fmla="*/ 413 h 1585"/>
                  <a:gd name="T52" fmla="*/ 1800 w 1844"/>
                  <a:gd name="T53" fmla="*/ 413 h 1585"/>
                  <a:gd name="T54" fmla="*/ 1031 w 1844"/>
                  <a:gd name="T55" fmla="*/ 892 h 1585"/>
                  <a:gd name="T56" fmla="*/ 1031 w 1844"/>
                  <a:gd name="T57" fmla="*/ 1132 h 1585"/>
                  <a:gd name="T58" fmla="*/ 999 w 1844"/>
                  <a:gd name="T59" fmla="*/ 1164 h 1585"/>
                  <a:gd name="T60" fmla="*/ 845 w 1844"/>
                  <a:gd name="T61" fmla="*/ 1164 h 1585"/>
                  <a:gd name="T62" fmla="*/ 813 w 1844"/>
                  <a:gd name="T63" fmla="*/ 1132 h 1585"/>
                  <a:gd name="T64" fmla="*/ 813 w 1844"/>
                  <a:gd name="T65" fmla="*/ 892 h 1585"/>
                  <a:gd name="T66" fmla="*/ 845 w 1844"/>
                  <a:gd name="T67" fmla="*/ 860 h 1585"/>
                  <a:gd name="T68" fmla="*/ 999 w 1844"/>
                  <a:gd name="T69" fmla="*/ 860 h 1585"/>
                  <a:gd name="T70" fmla="*/ 1031 w 1844"/>
                  <a:gd name="T71" fmla="*/ 892 h 1585"/>
                  <a:gd name="T72" fmla="*/ 857 w 1844"/>
                  <a:gd name="T73" fmla="*/ 904 h 1585"/>
                  <a:gd name="T74" fmla="*/ 857 w 1844"/>
                  <a:gd name="T75" fmla="*/ 1029 h 1585"/>
                  <a:gd name="T76" fmla="*/ 987 w 1844"/>
                  <a:gd name="T77" fmla="*/ 1029 h 1585"/>
                  <a:gd name="T78" fmla="*/ 987 w 1844"/>
                  <a:gd name="T79" fmla="*/ 904 h 1585"/>
                  <a:gd name="T80" fmla="*/ 857 w 1844"/>
                  <a:gd name="T81" fmla="*/ 904 h 1585"/>
                  <a:gd name="T82" fmla="*/ 987 w 1844"/>
                  <a:gd name="T83" fmla="*/ 1120 h 1585"/>
                  <a:gd name="T84" fmla="*/ 987 w 1844"/>
                  <a:gd name="T85" fmla="*/ 1073 h 1585"/>
                  <a:gd name="T86" fmla="*/ 857 w 1844"/>
                  <a:gd name="T87" fmla="*/ 1073 h 1585"/>
                  <a:gd name="T88" fmla="*/ 857 w 1844"/>
                  <a:gd name="T89" fmla="*/ 1120 h 1585"/>
                  <a:gd name="T90" fmla="*/ 987 w 1844"/>
                  <a:gd name="T91" fmla="*/ 1120 h 15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</a:cxnLst>
                <a:rect l="0" t="0" r="r" b="b"/>
                <a:pathLst>
                  <a:path w="1844" h="1585">
                    <a:moveTo>
                      <a:pt x="517" y="329"/>
                    </a:moveTo>
                    <a:cubicBezTo>
                      <a:pt x="517" y="154"/>
                      <a:pt x="517" y="154"/>
                      <a:pt x="517" y="154"/>
                    </a:cubicBezTo>
                    <a:cubicBezTo>
                      <a:pt x="517" y="69"/>
                      <a:pt x="585" y="0"/>
                      <a:pt x="670" y="0"/>
                    </a:cubicBezTo>
                    <a:cubicBezTo>
                      <a:pt x="1174" y="0"/>
                      <a:pt x="1174" y="0"/>
                      <a:pt x="1174" y="0"/>
                    </a:cubicBezTo>
                    <a:cubicBezTo>
                      <a:pt x="1259" y="0"/>
                      <a:pt x="1327" y="69"/>
                      <a:pt x="1327" y="154"/>
                    </a:cubicBezTo>
                    <a:cubicBezTo>
                      <a:pt x="1327" y="329"/>
                      <a:pt x="1327" y="329"/>
                      <a:pt x="1327" y="329"/>
                    </a:cubicBezTo>
                    <a:cubicBezTo>
                      <a:pt x="1239" y="329"/>
                      <a:pt x="1239" y="329"/>
                      <a:pt x="1239" y="329"/>
                    </a:cubicBezTo>
                    <a:cubicBezTo>
                      <a:pt x="1239" y="154"/>
                      <a:pt x="1239" y="154"/>
                      <a:pt x="1239" y="154"/>
                    </a:cubicBezTo>
                    <a:cubicBezTo>
                      <a:pt x="1239" y="118"/>
                      <a:pt x="1210" y="88"/>
                      <a:pt x="1174" y="88"/>
                    </a:cubicBezTo>
                    <a:cubicBezTo>
                      <a:pt x="670" y="88"/>
                      <a:pt x="670" y="88"/>
                      <a:pt x="670" y="88"/>
                    </a:cubicBezTo>
                    <a:cubicBezTo>
                      <a:pt x="634" y="88"/>
                      <a:pt x="605" y="118"/>
                      <a:pt x="605" y="154"/>
                    </a:cubicBezTo>
                    <a:cubicBezTo>
                      <a:pt x="605" y="329"/>
                      <a:pt x="605" y="329"/>
                      <a:pt x="605" y="329"/>
                    </a:cubicBezTo>
                    <a:lnTo>
                      <a:pt x="517" y="329"/>
                    </a:lnTo>
                    <a:close/>
                    <a:moveTo>
                      <a:pt x="1844" y="1541"/>
                    </a:moveTo>
                    <a:cubicBezTo>
                      <a:pt x="1844" y="413"/>
                      <a:pt x="1844" y="413"/>
                      <a:pt x="1844" y="413"/>
                    </a:cubicBezTo>
                    <a:cubicBezTo>
                      <a:pt x="1844" y="389"/>
                      <a:pt x="1824" y="369"/>
                      <a:pt x="1800" y="369"/>
                    </a:cubicBezTo>
                    <a:cubicBezTo>
                      <a:pt x="44" y="369"/>
                      <a:pt x="44" y="369"/>
                      <a:pt x="44" y="369"/>
                    </a:cubicBezTo>
                    <a:cubicBezTo>
                      <a:pt x="20" y="369"/>
                      <a:pt x="0" y="389"/>
                      <a:pt x="0" y="413"/>
                    </a:cubicBezTo>
                    <a:cubicBezTo>
                      <a:pt x="0" y="1541"/>
                      <a:pt x="0" y="1541"/>
                      <a:pt x="0" y="1541"/>
                    </a:cubicBezTo>
                    <a:cubicBezTo>
                      <a:pt x="0" y="1565"/>
                      <a:pt x="20" y="1585"/>
                      <a:pt x="44" y="1585"/>
                    </a:cubicBezTo>
                    <a:cubicBezTo>
                      <a:pt x="1800" y="1585"/>
                      <a:pt x="1800" y="1585"/>
                      <a:pt x="1800" y="1585"/>
                    </a:cubicBezTo>
                    <a:cubicBezTo>
                      <a:pt x="1824" y="1585"/>
                      <a:pt x="1844" y="1565"/>
                      <a:pt x="1844" y="1541"/>
                    </a:cubicBezTo>
                    <a:close/>
                    <a:moveTo>
                      <a:pt x="1800" y="413"/>
                    </a:moveTo>
                    <a:cubicBezTo>
                      <a:pt x="1800" y="1541"/>
                      <a:pt x="1800" y="1541"/>
                      <a:pt x="1800" y="1541"/>
                    </a:cubicBezTo>
                    <a:cubicBezTo>
                      <a:pt x="44" y="1541"/>
                      <a:pt x="44" y="1541"/>
                      <a:pt x="44" y="1541"/>
                    </a:cubicBezTo>
                    <a:cubicBezTo>
                      <a:pt x="44" y="413"/>
                      <a:pt x="44" y="413"/>
                      <a:pt x="44" y="413"/>
                    </a:cubicBezTo>
                    <a:lnTo>
                      <a:pt x="1800" y="413"/>
                    </a:lnTo>
                    <a:close/>
                    <a:moveTo>
                      <a:pt x="1031" y="892"/>
                    </a:moveTo>
                    <a:cubicBezTo>
                      <a:pt x="1031" y="1132"/>
                      <a:pt x="1031" y="1132"/>
                      <a:pt x="1031" y="1132"/>
                    </a:cubicBezTo>
                    <a:cubicBezTo>
                      <a:pt x="1031" y="1150"/>
                      <a:pt x="1016" y="1164"/>
                      <a:pt x="999" y="1164"/>
                    </a:cubicBezTo>
                    <a:cubicBezTo>
                      <a:pt x="845" y="1164"/>
                      <a:pt x="845" y="1164"/>
                      <a:pt x="845" y="1164"/>
                    </a:cubicBezTo>
                    <a:cubicBezTo>
                      <a:pt x="828" y="1164"/>
                      <a:pt x="813" y="1150"/>
                      <a:pt x="813" y="1132"/>
                    </a:cubicBezTo>
                    <a:cubicBezTo>
                      <a:pt x="813" y="892"/>
                      <a:pt x="813" y="892"/>
                      <a:pt x="813" y="892"/>
                    </a:cubicBezTo>
                    <a:cubicBezTo>
                      <a:pt x="813" y="875"/>
                      <a:pt x="828" y="860"/>
                      <a:pt x="845" y="860"/>
                    </a:cubicBezTo>
                    <a:cubicBezTo>
                      <a:pt x="999" y="860"/>
                      <a:pt x="999" y="860"/>
                      <a:pt x="999" y="860"/>
                    </a:cubicBezTo>
                    <a:cubicBezTo>
                      <a:pt x="1016" y="860"/>
                      <a:pt x="1031" y="875"/>
                      <a:pt x="1031" y="892"/>
                    </a:cubicBezTo>
                    <a:close/>
                    <a:moveTo>
                      <a:pt x="857" y="904"/>
                    </a:moveTo>
                    <a:cubicBezTo>
                      <a:pt x="857" y="1029"/>
                      <a:pt x="857" y="1029"/>
                      <a:pt x="857" y="1029"/>
                    </a:cubicBezTo>
                    <a:cubicBezTo>
                      <a:pt x="987" y="1029"/>
                      <a:pt x="987" y="1029"/>
                      <a:pt x="987" y="1029"/>
                    </a:cubicBezTo>
                    <a:cubicBezTo>
                      <a:pt x="987" y="904"/>
                      <a:pt x="987" y="904"/>
                      <a:pt x="987" y="904"/>
                    </a:cubicBezTo>
                    <a:lnTo>
                      <a:pt x="857" y="904"/>
                    </a:lnTo>
                    <a:close/>
                    <a:moveTo>
                      <a:pt x="987" y="1120"/>
                    </a:moveTo>
                    <a:cubicBezTo>
                      <a:pt x="987" y="1073"/>
                      <a:pt x="987" y="1073"/>
                      <a:pt x="987" y="1073"/>
                    </a:cubicBezTo>
                    <a:cubicBezTo>
                      <a:pt x="857" y="1073"/>
                      <a:pt x="857" y="1073"/>
                      <a:pt x="857" y="1073"/>
                    </a:cubicBezTo>
                    <a:cubicBezTo>
                      <a:pt x="857" y="1120"/>
                      <a:pt x="857" y="1120"/>
                      <a:pt x="857" y="1120"/>
                    </a:cubicBezTo>
                    <a:lnTo>
                      <a:pt x="987" y="1120"/>
                    </a:ln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</p:grpSp>
      </p:grpSp>
      <p:sp>
        <p:nvSpPr>
          <p:cNvPr id="90" name="Rectangle 89"/>
          <p:cNvSpPr/>
          <p:nvPr/>
        </p:nvSpPr>
        <p:spPr>
          <a:xfrm>
            <a:off x="2777284" y="1609733"/>
            <a:ext cx="810158" cy="221599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1100" dirty="0">
                <a:solidFill>
                  <a:srgbClr val="29BA74"/>
                </a:solidFill>
              </a:rPr>
              <a:t>Общество</a:t>
            </a:r>
          </a:p>
        </p:txBody>
      </p:sp>
      <p:sp>
        <p:nvSpPr>
          <p:cNvPr id="91" name="Rectangle 90"/>
          <p:cNvSpPr/>
          <p:nvPr/>
        </p:nvSpPr>
        <p:spPr>
          <a:xfrm>
            <a:off x="3841873" y="2591600"/>
            <a:ext cx="962444" cy="221599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1100" dirty="0">
                <a:solidFill>
                  <a:srgbClr val="29BA74"/>
                </a:solidFill>
              </a:rPr>
              <a:t>Государство</a:t>
            </a:r>
          </a:p>
        </p:txBody>
      </p:sp>
      <p:sp>
        <p:nvSpPr>
          <p:cNvPr id="92" name="Rectangle 91"/>
          <p:cNvSpPr/>
          <p:nvPr/>
        </p:nvSpPr>
        <p:spPr>
          <a:xfrm>
            <a:off x="1911491" y="2591600"/>
            <a:ext cx="601768" cy="221599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1100" dirty="0">
                <a:solidFill>
                  <a:srgbClr val="29BA74"/>
                </a:solidFill>
              </a:rPr>
              <a:t>Бизнес</a:t>
            </a:r>
          </a:p>
        </p:txBody>
      </p:sp>
      <p:cxnSp>
        <p:nvCxnSpPr>
          <p:cNvPr id="93" name="Straight Connector 92"/>
          <p:cNvCxnSpPr/>
          <p:nvPr/>
        </p:nvCxnSpPr>
        <p:spPr>
          <a:xfrm flipH="1">
            <a:off x="3340875" y="2188322"/>
            <a:ext cx="254150" cy="200455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olid"/>
            <a:round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Rectangle 95"/>
          <p:cNvSpPr/>
          <p:nvPr/>
        </p:nvSpPr>
        <p:spPr>
          <a:xfrm>
            <a:off x="3563953" y="2009641"/>
            <a:ext cx="713978" cy="221599"/>
          </a:xfrm>
          <a:prstGeom prst="rect">
            <a:avLst/>
          </a:prstGeom>
        </p:spPr>
        <p:txBody>
          <a:bodyPr wrap="none" lIns="68580" tIns="34290" rIns="68580" bIns="34290">
            <a:sp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1100" dirty="0">
                <a:solidFill>
                  <a:srgbClr val="29BA74"/>
                </a:solidFill>
              </a:rPr>
              <a:t>Индивид</a:t>
            </a:r>
          </a:p>
        </p:txBody>
      </p:sp>
      <p:sp>
        <p:nvSpPr>
          <p:cNvPr id="98" name="Rectangle 97"/>
          <p:cNvSpPr/>
          <p:nvPr/>
        </p:nvSpPr>
        <p:spPr>
          <a:xfrm rot="16200000">
            <a:off x="-288717" y="2363036"/>
            <a:ext cx="1663066" cy="304699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1100" dirty="0">
                <a:solidFill>
                  <a:srgbClr val="575757"/>
                </a:solidFill>
              </a:rPr>
              <a:t>Регулирование отношений</a:t>
            </a:r>
          </a:p>
        </p:txBody>
      </p:sp>
      <p:cxnSp>
        <p:nvCxnSpPr>
          <p:cNvPr id="105" name="Straight Connector 104"/>
          <p:cNvCxnSpPr/>
          <p:nvPr/>
        </p:nvCxnSpPr>
        <p:spPr>
          <a:xfrm>
            <a:off x="5731788" y="3528327"/>
            <a:ext cx="3095690" cy="0"/>
          </a:xfrm>
          <a:prstGeom prst="line">
            <a:avLst/>
          </a:prstGeom>
          <a:ln w="22225" cap="rnd">
            <a:solidFill>
              <a:schemeClr val="bg1">
                <a:lumMod val="75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tangle 79"/>
          <p:cNvSpPr/>
          <p:nvPr/>
        </p:nvSpPr>
        <p:spPr>
          <a:xfrm>
            <a:off x="472500" y="45115"/>
            <a:ext cx="1490307" cy="14193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r>
              <a:rPr lang="ru-RU" sz="900" dirty="0">
                <a:solidFill>
                  <a:srgbClr val="575757"/>
                </a:solidFill>
              </a:rPr>
              <a:t>Задачи и роль</a:t>
            </a:r>
          </a:p>
        </p:txBody>
      </p:sp>
      <p:grpSp>
        <p:nvGrpSpPr>
          <p:cNvPr id="81" name="bcgIcons_Target">
            <a:extLst>
              <a:ext uri="{FF2B5EF4-FFF2-40B4-BE49-F238E27FC236}">
                <a16:creationId xmlns:a16="http://schemas.microsoft.com/office/drawing/2014/main" xmlns="" id="{02916922-81B1-4399-BF36-3FC0C6969C4A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1643" y="-2370"/>
            <a:ext cx="438460" cy="439002"/>
            <a:chOff x="1682" y="0"/>
            <a:chExt cx="4316" cy="4320"/>
          </a:xfrm>
        </p:grpSpPr>
        <p:sp>
          <p:nvSpPr>
            <p:cNvPr id="82" name="AutoShape 23">
              <a:extLst>
                <a:ext uri="{FF2B5EF4-FFF2-40B4-BE49-F238E27FC236}">
                  <a16:creationId xmlns:a16="http://schemas.microsoft.com/office/drawing/2014/main" xmlns="" id="{89F4D31F-87B6-4E69-917E-65E2F97982B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6" name="Freeform 25">
              <a:extLst>
                <a:ext uri="{FF2B5EF4-FFF2-40B4-BE49-F238E27FC236}">
                  <a16:creationId xmlns:a16="http://schemas.microsoft.com/office/drawing/2014/main" xmlns="" id="{FA0FD38E-7CA9-4ECE-9013-798D4E40C55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782" y="838"/>
              <a:ext cx="1832" cy="1367"/>
            </a:xfrm>
            <a:custGeom>
              <a:avLst/>
              <a:gdLst>
                <a:gd name="T0" fmla="*/ 25 w 978"/>
                <a:gd name="T1" fmla="*/ 729 h 729"/>
                <a:gd name="T2" fmla="*/ 7 w 978"/>
                <a:gd name="T3" fmla="*/ 719 h 729"/>
                <a:gd name="T4" fmla="*/ 13 w 978"/>
                <a:gd name="T5" fmla="*/ 689 h 729"/>
                <a:gd name="T6" fmla="*/ 888 w 978"/>
                <a:gd name="T7" fmla="*/ 86 h 729"/>
                <a:gd name="T8" fmla="*/ 919 w 978"/>
                <a:gd name="T9" fmla="*/ 91 h 729"/>
                <a:gd name="T10" fmla="*/ 913 w 978"/>
                <a:gd name="T11" fmla="*/ 122 h 729"/>
                <a:gd name="T12" fmla="*/ 38 w 978"/>
                <a:gd name="T13" fmla="*/ 725 h 729"/>
                <a:gd name="T14" fmla="*/ 25 w 978"/>
                <a:gd name="T15" fmla="*/ 729 h 729"/>
                <a:gd name="T16" fmla="*/ 578 w 978"/>
                <a:gd name="T17" fmla="*/ 254 h 729"/>
                <a:gd name="T18" fmla="*/ 586 w 978"/>
                <a:gd name="T19" fmla="*/ 258 h 729"/>
                <a:gd name="T20" fmla="*/ 825 w 978"/>
                <a:gd name="T21" fmla="*/ 93 h 729"/>
                <a:gd name="T22" fmla="*/ 826 w 978"/>
                <a:gd name="T23" fmla="*/ 91 h 729"/>
                <a:gd name="T24" fmla="*/ 849 w 978"/>
                <a:gd name="T25" fmla="*/ 8 h 729"/>
                <a:gd name="T26" fmla="*/ 841 w 978"/>
                <a:gd name="T27" fmla="*/ 3 h 729"/>
                <a:gd name="T28" fmla="*/ 602 w 978"/>
                <a:gd name="T29" fmla="*/ 166 h 729"/>
                <a:gd name="T30" fmla="*/ 599 w 978"/>
                <a:gd name="T31" fmla="*/ 171 h 729"/>
                <a:gd name="T32" fmla="*/ 578 w 978"/>
                <a:gd name="T33" fmla="*/ 254 h 729"/>
                <a:gd name="T34" fmla="*/ 646 w 978"/>
                <a:gd name="T35" fmla="*/ 352 h 729"/>
                <a:gd name="T36" fmla="*/ 730 w 978"/>
                <a:gd name="T37" fmla="*/ 362 h 729"/>
                <a:gd name="T38" fmla="*/ 736 w 978"/>
                <a:gd name="T39" fmla="*/ 361 h 729"/>
                <a:gd name="T40" fmla="*/ 974 w 978"/>
                <a:gd name="T41" fmla="*/ 196 h 729"/>
                <a:gd name="T42" fmla="*/ 972 w 978"/>
                <a:gd name="T43" fmla="*/ 187 h 729"/>
                <a:gd name="T44" fmla="*/ 886 w 978"/>
                <a:gd name="T45" fmla="*/ 179 h 729"/>
                <a:gd name="T46" fmla="*/ 884 w 978"/>
                <a:gd name="T47" fmla="*/ 179 h 729"/>
                <a:gd name="T48" fmla="*/ 644 w 978"/>
                <a:gd name="T49" fmla="*/ 343 h 729"/>
                <a:gd name="T50" fmla="*/ 646 w 978"/>
                <a:gd name="T51" fmla="*/ 352 h 7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978" h="729">
                  <a:moveTo>
                    <a:pt x="25" y="729"/>
                  </a:moveTo>
                  <a:cubicBezTo>
                    <a:pt x="18" y="729"/>
                    <a:pt x="11" y="726"/>
                    <a:pt x="7" y="719"/>
                  </a:cubicBezTo>
                  <a:cubicBezTo>
                    <a:pt x="0" y="709"/>
                    <a:pt x="3" y="696"/>
                    <a:pt x="13" y="689"/>
                  </a:cubicBezTo>
                  <a:cubicBezTo>
                    <a:pt x="888" y="86"/>
                    <a:pt x="888" y="86"/>
                    <a:pt x="888" y="86"/>
                  </a:cubicBezTo>
                  <a:cubicBezTo>
                    <a:pt x="898" y="79"/>
                    <a:pt x="912" y="81"/>
                    <a:pt x="919" y="91"/>
                  </a:cubicBezTo>
                  <a:cubicBezTo>
                    <a:pt x="926" y="101"/>
                    <a:pt x="923" y="115"/>
                    <a:pt x="913" y="122"/>
                  </a:cubicBezTo>
                  <a:cubicBezTo>
                    <a:pt x="38" y="725"/>
                    <a:pt x="38" y="725"/>
                    <a:pt x="38" y="725"/>
                  </a:cubicBezTo>
                  <a:cubicBezTo>
                    <a:pt x="34" y="728"/>
                    <a:pt x="30" y="729"/>
                    <a:pt x="25" y="729"/>
                  </a:cubicBezTo>
                  <a:close/>
                  <a:moveTo>
                    <a:pt x="578" y="254"/>
                  </a:moveTo>
                  <a:cubicBezTo>
                    <a:pt x="577" y="258"/>
                    <a:pt x="582" y="259"/>
                    <a:pt x="586" y="258"/>
                  </a:cubicBezTo>
                  <a:cubicBezTo>
                    <a:pt x="586" y="258"/>
                    <a:pt x="586" y="258"/>
                    <a:pt x="825" y="93"/>
                  </a:cubicBezTo>
                  <a:cubicBezTo>
                    <a:pt x="826" y="93"/>
                    <a:pt x="826" y="93"/>
                    <a:pt x="826" y="91"/>
                  </a:cubicBezTo>
                  <a:cubicBezTo>
                    <a:pt x="826" y="91"/>
                    <a:pt x="826" y="91"/>
                    <a:pt x="849" y="8"/>
                  </a:cubicBezTo>
                  <a:cubicBezTo>
                    <a:pt x="850" y="3"/>
                    <a:pt x="845" y="0"/>
                    <a:pt x="841" y="3"/>
                  </a:cubicBezTo>
                  <a:cubicBezTo>
                    <a:pt x="841" y="3"/>
                    <a:pt x="841" y="3"/>
                    <a:pt x="602" y="166"/>
                  </a:cubicBezTo>
                  <a:cubicBezTo>
                    <a:pt x="601" y="168"/>
                    <a:pt x="601" y="168"/>
                    <a:pt x="599" y="171"/>
                  </a:cubicBezTo>
                  <a:cubicBezTo>
                    <a:pt x="599" y="171"/>
                    <a:pt x="599" y="171"/>
                    <a:pt x="578" y="254"/>
                  </a:cubicBezTo>
                  <a:close/>
                  <a:moveTo>
                    <a:pt x="646" y="352"/>
                  </a:moveTo>
                  <a:cubicBezTo>
                    <a:pt x="730" y="362"/>
                    <a:pt x="730" y="362"/>
                    <a:pt x="730" y="362"/>
                  </a:cubicBezTo>
                  <a:cubicBezTo>
                    <a:pt x="734" y="361"/>
                    <a:pt x="734" y="361"/>
                    <a:pt x="736" y="361"/>
                  </a:cubicBezTo>
                  <a:cubicBezTo>
                    <a:pt x="974" y="196"/>
                    <a:pt x="974" y="196"/>
                    <a:pt x="974" y="196"/>
                  </a:cubicBezTo>
                  <a:cubicBezTo>
                    <a:pt x="978" y="194"/>
                    <a:pt x="978" y="187"/>
                    <a:pt x="972" y="187"/>
                  </a:cubicBezTo>
                  <a:cubicBezTo>
                    <a:pt x="886" y="179"/>
                    <a:pt x="886" y="179"/>
                    <a:pt x="886" y="179"/>
                  </a:cubicBezTo>
                  <a:cubicBezTo>
                    <a:pt x="884" y="177"/>
                    <a:pt x="884" y="177"/>
                    <a:pt x="884" y="179"/>
                  </a:cubicBezTo>
                  <a:cubicBezTo>
                    <a:pt x="644" y="343"/>
                    <a:pt x="644" y="343"/>
                    <a:pt x="644" y="343"/>
                  </a:cubicBezTo>
                  <a:cubicBezTo>
                    <a:pt x="642" y="347"/>
                    <a:pt x="642" y="351"/>
                    <a:pt x="646" y="35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7" name="Freeform 26">
              <a:extLst>
                <a:ext uri="{FF2B5EF4-FFF2-40B4-BE49-F238E27FC236}">
                  <a16:creationId xmlns:a16="http://schemas.microsoft.com/office/drawing/2014/main" xmlns="" id="{F562C458-32E3-43E7-BAF7-B4773D3C4A7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422" y="756"/>
              <a:ext cx="2814" cy="2816"/>
            </a:xfrm>
            <a:custGeom>
              <a:avLst/>
              <a:gdLst>
                <a:gd name="T0" fmla="*/ 1016 w 1502"/>
                <a:gd name="T1" fmla="*/ 662 h 1502"/>
                <a:gd name="T2" fmla="*/ 1030 w 1502"/>
                <a:gd name="T3" fmla="*/ 751 h 1502"/>
                <a:gd name="T4" fmla="*/ 751 w 1502"/>
                <a:gd name="T5" fmla="*/ 1030 h 1502"/>
                <a:gd name="T6" fmla="*/ 472 w 1502"/>
                <a:gd name="T7" fmla="*/ 751 h 1502"/>
                <a:gd name="T8" fmla="*/ 751 w 1502"/>
                <a:gd name="T9" fmla="*/ 472 h 1502"/>
                <a:gd name="T10" fmla="*/ 929 w 1502"/>
                <a:gd name="T11" fmla="*/ 536 h 1502"/>
                <a:gd name="T12" fmla="*/ 819 w 1502"/>
                <a:gd name="T13" fmla="*/ 611 h 1502"/>
                <a:gd name="T14" fmla="*/ 751 w 1502"/>
                <a:gd name="T15" fmla="*/ 596 h 1502"/>
                <a:gd name="T16" fmla="*/ 596 w 1502"/>
                <a:gd name="T17" fmla="*/ 751 h 1502"/>
                <a:gd name="T18" fmla="*/ 751 w 1502"/>
                <a:gd name="T19" fmla="*/ 906 h 1502"/>
                <a:gd name="T20" fmla="*/ 906 w 1502"/>
                <a:gd name="T21" fmla="*/ 751 h 1502"/>
                <a:gd name="T22" fmla="*/ 906 w 1502"/>
                <a:gd name="T23" fmla="*/ 738 h 1502"/>
                <a:gd name="T24" fmla="*/ 1016 w 1502"/>
                <a:gd name="T25" fmla="*/ 662 h 1502"/>
                <a:gd name="T26" fmla="*/ 1107 w 1502"/>
                <a:gd name="T27" fmla="*/ 599 h 1502"/>
                <a:gd name="T28" fmla="*/ 1138 w 1502"/>
                <a:gd name="T29" fmla="*/ 751 h 1502"/>
                <a:gd name="T30" fmla="*/ 751 w 1502"/>
                <a:gd name="T31" fmla="*/ 1138 h 1502"/>
                <a:gd name="T32" fmla="*/ 364 w 1502"/>
                <a:gd name="T33" fmla="*/ 751 h 1502"/>
                <a:gd name="T34" fmla="*/ 751 w 1502"/>
                <a:gd name="T35" fmla="*/ 364 h 1502"/>
                <a:gd name="T36" fmla="*/ 1020 w 1502"/>
                <a:gd name="T37" fmla="*/ 473 h 1502"/>
                <a:gd name="T38" fmla="*/ 1124 w 1502"/>
                <a:gd name="T39" fmla="*/ 401 h 1502"/>
                <a:gd name="T40" fmla="*/ 751 w 1502"/>
                <a:gd name="T41" fmla="*/ 240 h 1502"/>
                <a:gd name="T42" fmla="*/ 240 w 1502"/>
                <a:gd name="T43" fmla="*/ 751 h 1502"/>
                <a:gd name="T44" fmla="*/ 751 w 1502"/>
                <a:gd name="T45" fmla="*/ 1262 h 1502"/>
                <a:gd name="T46" fmla="*/ 1262 w 1502"/>
                <a:gd name="T47" fmla="*/ 751 h 1502"/>
                <a:gd name="T48" fmla="*/ 1211 w 1502"/>
                <a:gd name="T49" fmla="*/ 528 h 1502"/>
                <a:gd name="T50" fmla="*/ 1107 w 1502"/>
                <a:gd name="T51" fmla="*/ 599 h 1502"/>
                <a:gd name="T52" fmla="*/ 1333 w 1502"/>
                <a:gd name="T53" fmla="*/ 443 h 1502"/>
                <a:gd name="T54" fmla="*/ 1307 w 1502"/>
                <a:gd name="T55" fmla="*/ 461 h 1502"/>
                <a:gd name="T56" fmla="*/ 1378 w 1502"/>
                <a:gd name="T57" fmla="*/ 751 h 1502"/>
                <a:gd name="T58" fmla="*/ 751 w 1502"/>
                <a:gd name="T59" fmla="*/ 1378 h 1502"/>
                <a:gd name="T60" fmla="*/ 124 w 1502"/>
                <a:gd name="T61" fmla="*/ 751 h 1502"/>
                <a:gd name="T62" fmla="*/ 751 w 1502"/>
                <a:gd name="T63" fmla="*/ 124 h 1502"/>
                <a:gd name="T64" fmla="*/ 1220 w 1502"/>
                <a:gd name="T65" fmla="*/ 335 h 1502"/>
                <a:gd name="T66" fmla="*/ 1246 w 1502"/>
                <a:gd name="T67" fmla="*/ 317 h 1502"/>
                <a:gd name="T68" fmla="*/ 1273 w 1502"/>
                <a:gd name="T69" fmla="*/ 211 h 1502"/>
                <a:gd name="T70" fmla="*/ 751 w 1502"/>
                <a:gd name="T71" fmla="*/ 0 h 1502"/>
                <a:gd name="T72" fmla="*/ 0 w 1502"/>
                <a:gd name="T73" fmla="*/ 751 h 1502"/>
                <a:gd name="T74" fmla="*/ 751 w 1502"/>
                <a:gd name="T75" fmla="*/ 1502 h 1502"/>
                <a:gd name="T76" fmla="*/ 1502 w 1502"/>
                <a:gd name="T77" fmla="*/ 751 h 1502"/>
                <a:gd name="T78" fmla="*/ 1442 w 1502"/>
                <a:gd name="T79" fmla="*/ 456 h 1502"/>
                <a:gd name="T80" fmla="*/ 1333 w 1502"/>
                <a:gd name="T81" fmla="*/ 443 h 1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02" h="1502">
                  <a:moveTo>
                    <a:pt x="1016" y="662"/>
                  </a:moveTo>
                  <a:cubicBezTo>
                    <a:pt x="1025" y="690"/>
                    <a:pt x="1030" y="720"/>
                    <a:pt x="1030" y="751"/>
                  </a:cubicBezTo>
                  <a:cubicBezTo>
                    <a:pt x="1030" y="905"/>
                    <a:pt x="905" y="1030"/>
                    <a:pt x="751" y="1030"/>
                  </a:cubicBezTo>
                  <a:cubicBezTo>
                    <a:pt x="597" y="1030"/>
                    <a:pt x="472" y="905"/>
                    <a:pt x="472" y="751"/>
                  </a:cubicBezTo>
                  <a:cubicBezTo>
                    <a:pt x="472" y="597"/>
                    <a:pt x="597" y="472"/>
                    <a:pt x="751" y="472"/>
                  </a:cubicBezTo>
                  <a:cubicBezTo>
                    <a:pt x="818" y="472"/>
                    <a:pt x="880" y="496"/>
                    <a:pt x="929" y="536"/>
                  </a:cubicBezTo>
                  <a:cubicBezTo>
                    <a:pt x="819" y="611"/>
                    <a:pt x="819" y="611"/>
                    <a:pt x="819" y="611"/>
                  </a:cubicBezTo>
                  <a:cubicBezTo>
                    <a:pt x="798" y="601"/>
                    <a:pt x="775" y="596"/>
                    <a:pt x="751" y="596"/>
                  </a:cubicBezTo>
                  <a:cubicBezTo>
                    <a:pt x="665" y="596"/>
                    <a:pt x="596" y="665"/>
                    <a:pt x="596" y="751"/>
                  </a:cubicBezTo>
                  <a:cubicBezTo>
                    <a:pt x="596" y="836"/>
                    <a:pt x="665" y="906"/>
                    <a:pt x="751" y="906"/>
                  </a:cubicBezTo>
                  <a:cubicBezTo>
                    <a:pt x="837" y="906"/>
                    <a:pt x="906" y="836"/>
                    <a:pt x="906" y="751"/>
                  </a:cubicBezTo>
                  <a:cubicBezTo>
                    <a:pt x="906" y="746"/>
                    <a:pt x="906" y="742"/>
                    <a:pt x="906" y="738"/>
                  </a:cubicBezTo>
                  <a:lnTo>
                    <a:pt x="1016" y="662"/>
                  </a:lnTo>
                  <a:close/>
                  <a:moveTo>
                    <a:pt x="1107" y="599"/>
                  </a:moveTo>
                  <a:cubicBezTo>
                    <a:pt x="1127" y="646"/>
                    <a:pt x="1138" y="697"/>
                    <a:pt x="1138" y="751"/>
                  </a:cubicBezTo>
                  <a:cubicBezTo>
                    <a:pt x="1138" y="964"/>
                    <a:pt x="964" y="1138"/>
                    <a:pt x="751" y="1138"/>
                  </a:cubicBezTo>
                  <a:cubicBezTo>
                    <a:pt x="537" y="1138"/>
                    <a:pt x="364" y="964"/>
                    <a:pt x="364" y="751"/>
                  </a:cubicBezTo>
                  <a:cubicBezTo>
                    <a:pt x="364" y="537"/>
                    <a:pt x="537" y="364"/>
                    <a:pt x="751" y="364"/>
                  </a:cubicBezTo>
                  <a:cubicBezTo>
                    <a:pt x="855" y="364"/>
                    <a:pt x="950" y="405"/>
                    <a:pt x="1020" y="473"/>
                  </a:cubicBezTo>
                  <a:cubicBezTo>
                    <a:pt x="1124" y="401"/>
                    <a:pt x="1124" y="401"/>
                    <a:pt x="1124" y="401"/>
                  </a:cubicBezTo>
                  <a:cubicBezTo>
                    <a:pt x="1030" y="302"/>
                    <a:pt x="898" y="240"/>
                    <a:pt x="751" y="240"/>
                  </a:cubicBezTo>
                  <a:cubicBezTo>
                    <a:pt x="469" y="240"/>
                    <a:pt x="240" y="469"/>
                    <a:pt x="240" y="751"/>
                  </a:cubicBezTo>
                  <a:cubicBezTo>
                    <a:pt x="240" y="1033"/>
                    <a:pt x="469" y="1262"/>
                    <a:pt x="751" y="1262"/>
                  </a:cubicBezTo>
                  <a:cubicBezTo>
                    <a:pt x="1033" y="1262"/>
                    <a:pt x="1262" y="1033"/>
                    <a:pt x="1262" y="751"/>
                  </a:cubicBezTo>
                  <a:cubicBezTo>
                    <a:pt x="1262" y="671"/>
                    <a:pt x="1244" y="595"/>
                    <a:pt x="1211" y="528"/>
                  </a:cubicBezTo>
                  <a:lnTo>
                    <a:pt x="1107" y="599"/>
                  </a:lnTo>
                  <a:close/>
                  <a:moveTo>
                    <a:pt x="1333" y="443"/>
                  </a:moveTo>
                  <a:cubicBezTo>
                    <a:pt x="1307" y="461"/>
                    <a:pt x="1307" y="461"/>
                    <a:pt x="1307" y="461"/>
                  </a:cubicBezTo>
                  <a:cubicBezTo>
                    <a:pt x="1352" y="548"/>
                    <a:pt x="1378" y="646"/>
                    <a:pt x="1378" y="751"/>
                  </a:cubicBezTo>
                  <a:cubicBezTo>
                    <a:pt x="1378" y="1097"/>
                    <a:pt x="1097" y="1378"/>
                    <a:pt x="751" y="1378"/>
                  </a:cubicBezTo>
                  <a:cubicBezTo>
                    <a:pt x="405" y="1378"/>
                    <a:pt x="124" y="1097"/>
                    <a:pt x="124" y="751"/>
                  </a:cubicBezTo>
                  <a:cubicBezTo>
                    <a:pt x="124" y="405"/>
                    <a:pt x="405" y="124"/>
                    <a:pt x="751" y="124"/>
                  </a:cubicBezTo>
                  <a:cubicBezTo>
                    <a:pt x="937" y="124"/>
                    <a:pt x="1105" y="205"/>
                    <a:pt x="1220" y="335"/>
                  </a:cubicBezTo>
                  <a:cubicBezTo>
                    <a:pt x="1246" y="317"/>
                    <a:pt x="1246" y="317"/>
                    <a:pt x="1246" y="317"/>
                  </a:cubicBezTo>
                  <a:cubicBezTo>
                    <a:pt x="1273" y="211"/>
                    <a:pt x="1273" y="211"/>
                    <a:pt x="1273" y="211"/>
                  </a:cubicBezTo>
                  <a:cubicBezTo>
                    <a:pt x="1138" y="80"/>
                    <a:pt x="954" y="0"/>
                    <a:pt x="751" y="0"/>
                  </a:cubicBezTo>
                  <a:cubicBezTo>
                    <a:pt x="337" y="0"/>
                    <a:pt x="0" y="337"/>
                    <a:pt x="0" y="751"/>
                  </a:cubicBezTo>
                  <a:cubicBezTo>
                    <a:pt x="0" y="1165"/>
                    <a:pt x="337" y="1502"/>
                    <a:pt x="751" y="1502"/>
                  </a:cubicBezTo>
                  <a:cubicBezTo>
                    <a:pt x="1165" y="1502"/>
                    <a:pt x="1502" y="1165"/>
                    <a:pt x="1502" y="751"/>
                  </a:cubicBezTo>
                  <a:cubicBezTo>
                    <a:pt x="1502" y="646"/>
                    <a:pt x="1480" y="547"/>
                    <a:pt x="1442" y="456"/>
                  </a:cubicBezTo>
                  <a:lnTo>
                    <a:pt x="1333" y="443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</p:spTree>
    <p:custDataLst>
      <p:tags r:id="rId2"/>
    </p:custDataLst>
    <p:extLst>
      <p:ext uri="{BB962C8B-B14F-4D97-AF65-F5344CB8AC3E}">
        <p14:creationId xmlns:p14="http://schemas.microsoft.com/office/powerpoint/2010/main" val="3165301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3868" y="321173"/>
            <a:ext cx="8199900" cy="720197"/>
          </a:xfrm>
        </p:spPr>
        <p:txBody>
          <a:bodyPr/>
          <a:lstStyle/>
          <a:p>
            <a:r>
              <a:rPr lang="ru-RU" dirty="0"/>
              <a:t>Пять принципов регулирования должны обеспечить реализацию задач </a:t>
            </a:r>
            <a:r>
              <a:rPr lang="ru-RU" dirty="0" smtClean="0"/>
              <a:t>систематизации</a:t>
            </a:r>
            <a:endParaRPr lang="ru-RU" dirty="0"/>
          </a:p>
        </p:txBody>
      </p:sp>
      <p:cxnSp>
        <p:nvCxnSpPr>
          <p:cNvPr id="23" name="Straight Connector 22"/>
          <p:cNvCxnSpPr/>
          <p:nvPr/>
        </p:nvCxnSpPr>
        <p:spPr>
          <a:xfrm>
            <a:off x="472500" y="2350746"/>
            <a:ext cx="8199900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1029468" y="3020789"/>
            <a:ext cx="7642932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/>
        </p:nvCxnSpPr>
        <p:spPr>
          <a:xfrm>
            <a:off x="333375" y="3636424"/>
            <a:ext cx="8339025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/>
        </p:nvCxnSpPr>
        <p:spPr>
          <a:xfrm>
            <a:off x="1029468" y="4252059"/>
            <a:ext cx="7642932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6" name="Group 65"/>
          <p:cNvGrpSpPr/>
          <p:nvPr/>
        </p:nvGrpSpPr>
        <p:grpSpPr>
          <a:xfrm>
            <a:off x="994490" y="2431832"/>
            <a:ext cx="7797084" cy="507871"/>
            <a:chOff x="1325987" y="3377862"/>
            <a:chExt cx="10396112" cy="676952"/>
          </a:xfrm>
        </p:grpSpPr>
        <p:sp>
          <p:nvSpPr>
            <p:cNvPr id="3" name="Rectangle 2"/>
            <p:cNvSpPr/>
            <p:nvPr/>
          </p:nvSpPr>
          <p:spPr>
            <a:xfrm>
              <a:off x="2568359" y="3414123"/>
              <a:ext cx="2568338" cy="604429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750"/>
                </a:spcAft>
              </a:pPr>
              <a:r>
                <a:rPr lang="ru-RU" sz="1100" b="1" dirty="0">
                  <a:solidFill>
                    <a:srgbClr val="575757"/>
                  </a:solidFill>
                </a:rPr>
                <a:t>Доступ к связи – базовое право индивида</a:t>
              </a:r>
            </a:p>
          </p:txBody>
        </p:sp>
        <p:sp>
          <p:nvSpPr>
            <p:cNvPr id="17" name="Oval 20"/>
            <p:cNvSpPr>
              <a:spLocks noChangeArrowheads="1"/>
            </p:cNvSpPr>
            <p:nvPr/>
          </p:nvSpPr>
          <p:spPr bwMode="auto">
            <a:xfrm>
              <a:off x="1325987" y="3581400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ru-RU" sz="900" dirty="0">
                  <a:solidFill>
                    <a:schemeClr val="bg1"/>
                  </a:solidFill>
                </a:rPr>
                <a:t>2</a:t>
              </a:r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5345911" y="3581400"/>
              <a:ext cx="269875" cy="269875"/>
              <a:chOff x="982662" y="1847850"/>
              <a:chExt cx="269875" cy="269875"/>
            </a:xfrm>
          </p:grpSpPr>
          <p:sp>
            <p:nvSpPr>
              <p:cNvPr id="34" name="Oval 50"/>
              <p:cNvSpPr>
                <a:spLocks noChangeArrowheads="1"/>
              </p:cNvSpPr>
              <p:nvPr/>
            </p:nvSpPr>
            <p:spPr bwMode="auto">
              <a:xfrm>
                <a:off x="982662" y="1847850"/>
                <a:ext cx="269875" cy="269875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5" name="Freeform 51"/>
              <p:cNvSpPr>
                <a:spLocks/>
              </p:cNvSpPr>
              <p:nvPr/>
            </p:nvSpPr>
            <p:spPr bwMode="auto">
              <a:xfrm>
                <a:off x="1082675" y="1895475"/>
                <a:ext cx="96837" cy="174625"/>
              </a:xfrm>
              <a:custGeom>
                <a:avLst/>
                <a:gdLst>
                  <a:gd name="T0" fmla="*/ 6 w 61"/>
                  <a:gd name="T1" fmla="*/ 0 h 110"/>
                  <a:gd name="T2" fmla="*/ 0 w 61"/>
                  <a:gd name="T3" fmla="*/ 7 h 110"/>
                  <a:gd name="T4" fmla="*/ 48 w 61"/>
                  <a:gd name="T5" fmla="*/ 55 h 110"/>
                  <a:gd name="T6" fmla="*/ 0 w 61"/>
                  <a:gd name="T7" fmla="*/ 104 h 110"/>
                  <a:gd name="T8" fmla="*/ 6 w 61"/>
                  <a:gd name="T9" fmla="*/ 110 h 110"/>
                  <a:gd name="T10" fmla="*/ 54 w 61"/>
                  <a:gd name="T11" fmla="*/ 62 h 110"/>
                  <a:gd name="T12" fmla="*/ 61 w 61"/>
                  <a:gd name="T13" fmla="*/ 55 h 110"/>
                  <a:gd name="T14" fmla="*/ 54 w 61"/>
                  <a:gd name="T15" fmla="*/ 49 h 110"/>
                  <a:gd name="T16" fmla="*/ 6 w 61"/>
                  <a:gd name="T17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1" h="110">
                    <a:moveTo>
                      <a:pt x="6" y="0"/>
                    </a:moveTo>
                    <a:lnTo>
                      <a:pt x="0" y="7"/>
                    </a:lnTo>
                    <a:lnTo>
                      <a:pt x="48" y="55"/>
                    </a:lnTo>
                    <a:lnTo>
                      <a:pt x="0" y="104"/>
                    </a:lnTo>
                    <a:lnTo>
                      <a:pt x="6" y="110"/>
                    </a:lnTo>
                    <a:lnTo>
                      <a:pt x="54" y="62"/>
                    </a:lnTo>
                    <a:lnTo>
                      <a:pt x="61" y="55"/>
                    </a:lnTo>
                    <a:lnTo>
                      <a:pt x="54" y="49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49" name="Rectangle 48"/>
            <p:cNvSpPr/>
            <p:nvPr/>
          </p:nvSpPr>
          <p:spPr>
            <a:xfrm>
              <a:off x="5753100" y="3489990"/>
              <a:ext cx="5968999" cy="452694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750"/>
                </a:spcAft>
              </a:pPr>
              <a:r>
                <a:rPr lang="ru-RU" sz="1100" dirty="0">
                  <a:solidFill>
                    <a:srgbClr val="575757"/>
                  </a:solidFill>
                </a:rPr>
                <a:t>Всеобщий</a:t>
              </a:r>
              <a:r>
                <a:rPr lang="ru-RU" sz="1100" b="1" dirty="0">
                  <a:solidFill>
                    <a:srgbClr val="575757"/>
                  </a:solidFill>
                </a:rPr>
                <a:t> доступ к качественным сервисам повысит уровень жизни</a:t>
              </a:r>
              <a:r>
                <a:rPr lang="ru-RU" sz="1100" dirty="0">
                  <a:solidFill>
                    <a:srgbClr val="575757"/>
                  </a:solidFill>
                </a:rPr>
                <a:t> и равенство индивидов и </a:t>
              </a:r>
              <a:r>
                <a:rPr lang="ru-RU" sz="1100" b="1" dirty="0">
                  <a:solidFill>
                    <a:srgbClr val="575757"/>
                  </a:solidFill>
                </a:rPr>
                <a:t>стимулирует развитие новых рынков,</a:t>
              </a:r>
              <a:r>
                <a:rPr lang="ru-RU" sz="1100" dirty="0">
                  <a:solidFill>
                    <a:srgbClr val="575757"/>
                  </a:solidFill>
                </a:rPr>
                <a:t> в </a:t>
              </a:r>
              <a:r>
                <a:rPr lang="ru-RU" sz="1100" dirty="0" err="1">
                  <a:solidFill>
                    <a:srgbClr val="575757"/>
                  </a:solidFill>
                </a:rPr>
                <a:t>т.ч</a:t>
              </a:r>
              <a:r>
                <a:rPr lang="ru-RU" sz="1100" dirty="0">
                  <a:solidFill>
                    <a:srgbClr val="575757"/>
                  </a:solidFill>
                </a:rPr>
                <a:t>. за счет </a:t>
              </a:r>
              <a:r>
                <a:rPr lang="ru-RU" sz="1100" b="1" dirty="0">
                  <a:solidFill>
                    <a:srgbClr val="575757"/>
                  </a:solidFill>
                </a:rPr>
                <a:t>увеличения потока данных</a:t>
              </a:r>
            </a:p>
          </p:txBody>
        </p:sp>
        <p:grpSp>
          <p:nvGrpSpPr>
            <p:cNvPr id="50" name="bcgIcons_GenderNeutralXxx">
              <a:extLst>
                <a:ext uri="{FF2B5EF4-FFF2-40B4-BE49-F238E27FC236}">
                  <a16:creationId xmlns:a16="http://schemas.microsoft.com/office/drawing/2014/main" xmlns="" id="{9D0C2590-8AEF-4B28-BA14-111E86F8E8BC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765953" y="3377862"/>
              <a:ext cx="676325" cy="676952"/>
              <a:chOff x="1682" y="0"/>
              <a:chExt cx="4316" cy="4320"/>
            </a:xfrm>
          </p:grpSpPr>
          <p:sp>
            <p:nvSpPr>
              <p:cNvPr id="51" name="AutoShape 32">
                <a:extLst>
                  <a:ext uri="{FF2B5EF4-FFF2-40B4-BE49-F238E27FC236}">
                    <a16:creationId xmlns:a16="http://schemas.microsoft.com/office/drawing/2014/main" xmlns="" id="{B9A5009D-C40C-49AF-9416-55E1C38587A0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52" name="Freeform 51">
                <a:extLst>
                  <a:ext uri="{FF2B5EF4-FFF2-40B4-BE49-F238E27FC236}">
                    <a16:creationId xmlns:a16="http://schemas.microsoft.com/office/drawing/2014/main" xmlns="" id="{9D2A53A8-E199-4285-B42A-67EB2BFED7A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42" y="1311"/>
                <a:ext cx="2795" cy="2477"/>
              </a:xfrm>
              <a:custGeom>
                <a:avLst/>
                <a:gdLst>
                  <a:gd name="T0" fmla="*/ 1402 w 1492"/>
                  <a:gd name="T1" fmla="*/ 1047 h 1321"/>
                  <a:gd name="T2" fmla="*/ 1358 w 1492"/>
                  <a:gd name="T3" fmla="*/ 891 h 1321"/>
                  <a:gd name="T4" fmla="*/ 765 w 1492"/>
                  <a:gd name="T5" fmla="*/ 1047 h 1321"/>
                  <a:gd name="T6" fmla="*/ 721 w 1492"/>
                  <a:gd name="T7" fmla="*/ 891 h 1321"/>
                  <a:gd name="T8" fmla="*/ 144 w 1492"/>
                  <a:gd name="T9" fmla="*/ 1047 h 1321"/>
                  <a:gd name="T10" fmla="*/ 100 w 1492"/>
                  <a:gd name="T11" fmla="*/ 869 h 1321"/>
                  <a:gd name="T12" fmla="*/ 721 w 1492"/>
                  <a:gd name="T13" fmla="*/ 847 h 1321"/>
                  <a:gd name="T14" fmla="*/ 765 w 1492"/>
                  <a:gd name="T15" fmla="*/ 652 h 1321"/>
                  <a:gd name="T16" fmla="*/ 1380 w 1492"/>
                  <a:gd name="T17" fmla="*/ 847 h 1321"/>
                  <a:gd name="T18" fmla="*/ 200 w 1492"/>
                  <a:gd name="T19" fmla="*/ 1252 h 1321"/>
                  <a:gd name="T20" fmla="*/ 44 w 1492"/>
                  <a:gd name="T21" fmla="*/ 1277 h 1321"/>
                  <a:gd name="T22" fmla="*/ 144 w 1492"/>
                  <a:gd name="T23" fmla="*/ 1121 h 1321"/>
                  <a:gd name="T24" fmla="*/ 22 w 1492"/>
                  <a:gd name="T25" fmla="*/ 1077 h 1321"/>
                  <a:gd name="T26" fmla="*/ 0 w 1492"/>
                  <a:gd name="T27" fmla="*/ 1299 h 1321"/>
                  <a:gd name="T28" fmla="*/ 222 w 1492"/>
                  <a:gd name="T29" fmla="*/ 1321 h 1321"/>
                  <a:gd name="T30" fmla="*/ 244 w 1492"/>
                  <a:gd name="T31" fmla="*/ 1208 h 1321"/>
                  <a:gd name="T32" fmla="*/ 824 w 1492"/>
                  <a:gd name="T33" fmla="*/ 1252 h 1321"/>
                  <a:gd name="T34" fmla="*/ 668 w 1492"/>
                  <a:gd name="T35" fmla="*/ 1277 h 1321"/>
                  <a:gd name="T36" fmla="*/ 768 w 1492"/>
                  <a:gd name="T37" fmla="*/ 1121 h 1321"/>
                  <a:gd name="T38" fmla="*/ 646 w 1492"/>
                  <a:gd name="T39" fmla="*/ 1077 h 1321"/>
                  <a:gd name="T40" fmla="*/ 624 w 1492"/>
                  <a:gd name="T41" fmla="*/ 1299 h 1321"/>
                  <a:gd name="T42" fmla="*/ 846 w 1492"/>
                  <a:gd name="T43" fmla="*/ 1321 h 1321"/>
                  <a:gd name="T44" fmla="*/ 868 w 1492"/>
                  <a:gd name="T45" fmla="*/ 1208 h 1321"/>
                  <a:gd name="T46" fmla="*/ 1448 w 1492"/>
                  <a:gd name="T47" fmla="*/ 1252 h 1321"/>
                  <a:gd name="T48" fmla="*/ 1292 w 1492"/>
                  <a:gd name="T49" fmla="*/ 1277 h 1321"/>
                  <a:gd name="T50" fmla="*/ 1392 w 1492"/>
                  <a:gd name="T51" fmla="*/ 1121 h 1321"/>
                  <a:gd name="T52" fmla="*/ 1270 w 1492"/>
                  <a:gd name="T53" fmla="*/ 1077 h 1321"/>
                  <a:gd name="T54" fmla="*/ 1248 w 1492"/>
                  <a:gd name="T55" fmla="*/ 1299 h 1321"/>
                  <a:gd name="T56" fmla="*/ 1470 w 1492"/>
                  <a:gd name="T57" fmla="*/ 1321 h 1321"/>
                  <a:gd name="T58" fmla="*/ 1492 w 1492"/>
                  <a:gd name="T59" fmla="*/ 1208 h 1321"/>
                  <a:gd name="T60" fmla="*/ 984 w 1492"/>
                  <a:gd name="T61" fmla="*/ 31 h 1321"/>
                  <a:gd name="T62" fmla="*/ 959 w 1492"/>
                  <a:gd name="T63" fmla="*/ 28 h 1321"/>
                  <a:gd name="T64" fmla="*/ 947 w 1492"/>
                  <a:gd name="T65" fmla="*/ 40 h 1321"/>
                  <a:gd name="T66" fmla="*/ 742 w 1492"/>
                  <a:gd name="T67" fmla="*/ 275 h 1321"/>
                  <a:gd name="T68" fmla="*/ 644 w 1492"/>
                  <a:gd name="T69" fmla="*/ 232 h 1321"/>
                  <a:gd name="T70" fmla="*/ 536 w 1492"/>
                  <a:gd name="T71" fmla="*/ 40 h 1321"/>
                  <a:gd name="T72" fmla="*/ 503 w 1492"/>
                  <a:gd name="T73" fmla="*/ 0 h 1321"/>
                  <a:gd name="T74" fmla="*/ 458 w 1492"/>
                  <a:gd name="T75" fmla="*/ 3 h 1321"/>
                  <a:gd name="T76" fmla="*/ 587 w 1492"/>
                  <a:gd name="T77" fmla="*/ 244 h 1321"/>
                  <a:gd name="T78" fmla="*/ 601 w 1492"/>
                  <a:gd name="T79" fmla="*/ 333 h 1321"/>
                  <a:gd name="T80" fmla="*/ 642 w 1492"/>
                  <a:gd name="T81" fmla="*/ 367 h 1321"/>
                  <a:gd name="T82" fmla="*/ 645 w 1492"/>
                  <a:gd name="T83" fmla="*/ 284 h 1321"/>
                  <a:gd name="T84" fmla="*/ 849 w 1492"/>
                  <a:gd name="T85" fmla="*/ 278 h 1321"/>
                  <a:gd name="T86" fmla="*/ 886 w 1492"/>
                  <a:gd name="T87" fmla="*/ 335 h 1321"/>
                  <a:gd name="T88" fmla="*/ 893 w 1492"/>
                  <a:gd name="T89" fmla="*/ 246 h 1321"/>
                  <a:gd name="T90" fmla="*/ 986 w 1492"/>
                  <a:gd name="T91" fmla="*/ 63 h 1321"/>
                  <a:gd name="T92" fmla="*/ 984 w 1492"/>
                  <a:gd name="T93" fmla="*/ 31 h 13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1492" h="1321">
                    <a:moveTo>
                      <a:pt x="1402" y="869"/>
                    </a:moveTo>
                    <a:cubicBezTo>
                      <a:pt x="1402" y="1047"/>
                      <a:pt x="1402" y="1047"/>
                      <a:pt x="1402" y="1047"/>
                    </a:cubicBezTo>
                    <a:cubicBezTo>
                      <a:pt x="1358" y="1047"/>
                      <a:pt x="1358" y="1047"/>
                      <a:pt x="1358" y="1047"/>
                    </a:cubicBezTo>
                    <a:cubicBezTo>
                      <a:pt x="1358" y="891"/>
                      <a:pt x="1358" y="891"/>
                      <a:pt x="1358" y="891"/>
                    </a:cubicBezTo>
                    <a:cubicBezTo>
                      <a:pt x="765" y="891"/>
                      <a:pt x="765" y="891"/>
                      <a:pt x="765" y="891"/>
                    </a:cubicBezTo>
                    <a:cubicBezTo>
                      <a:pt x="765" y="1047"/>
                      <a:pt x="765" y="1047"/>
                      <a:pt x="765" y="1047"/>
                    </a:cubicBezTo>
                    <a:cubicBezTo>
                      <a:pt x="721" y="1047"/>
                      <a:pt x="721" y="1047"/>
                      <a:pt x="721" y="1047"/>
                    </a:cubicBezTo>
                    <a:cubicBezTo>
                      <a:pt x="721" y="891"/>
                      <a:pt x="721" y="891"/>
                      <a:pt x="721" y="891"/>
                    </a:cubicBezTo>
                    <a:cubicBezTo>
                      <a:pt x="144" y="891"/>
                      <a:pt x="144" y="891"/>
                      <a:pt x="144" y="891"/>
                    </a:cubicBezTo>
                    <a:cubicBezTo>
                      <a:pt x="144" y="1047"/>
                      <a:pt x="144" y="1047"/>
                      <a:pt x="144" y="1047"/>
                    </a:cubicBezTo>
                    <a:cubicBezTo>
                      <a:pt x="100" y="1047"/>
                      <a:pt x="100" y="1047"/>
                      <a:pt x="100" y="1047"/>
                    </a:cubicBezTo>
                    <a:cubicBezTo>
                      <a:pt x="100" y="869"/>
                      <a:pt x="100" y="869"/>
                      <a:pt x="100" y="869"/>
                    </a:cubicBezTo>
                    <a:cubicBezTo>
                      <a:pt x="100" y="857"/>
                      <a:pt x="110" y="847"/>
                      <a:pt x="122" y="847"/>
                    </a:cubicBezTo>
                    <a:cubicBezTo>
                      <a:pt x="721" y="847"/>
                      <a:pt x="721" y="847"/>
                      <a:pt x="721" y="847"/>
                    </a:cubicBezTo>
                    <a:cubicBezTo>
                      <a:pt x="721" y="652"/>
                      <a:pt x="721" y="652"/>
                      <a:pt x="721" y="652"/>
                    </a:cubicBezTo>
                    <a:cubicBezTo>
                      <a:pt x="765" y="652"/>
                      <a:pt x="765" y="652"/>
                      <a:pt x="765" y="652"/>
                    </a:cubicBezTo>
                    <a:cubicBezTo>
                      <a:pt x="765" y="847"/>
                      <a:pt x="765" y="847"/>
                      <a:pt x="765" y="847"/>
                    </a:cubicBezTo>
                    <a:cubicBezTo>
                      <a:pt x="1380" y="847"/>
                      <a:pt x="1380" y="847"/>
                      <a:pt x="1380" y="847"/>
                    </a:cubicBezTo>
                    <a:cubicBezTo>
                      <a:pt x="1392" y="847"/>
                      <a:pt x="1402" y="857"/>
                      <a:pt x="1402" y="869"/>
                    </a:cubicBezTo>
                    <a:close/>
                    <a:moveTo>
                      <a:pt x="200" y="1252"/>
                    </a:moveTo>
                    <a:cubicBezTo>
                      <a:pt x="200" y="1277"/>
                      <a:pt x="200" y="1277"/>
                      <a:pt x="200" y="1277"/>
                    </a:cubicBezTo>
                    <a:cubicBezTo>
                      <a:pt x="44" y="1277"/>
                      <a:pt x="44" y="1277"/>
                      <a:pt x="44" y="1277"/>
                    </a:cubicBezTo>
                    <a:cubicBezTo>
                      <a:pt x="44" y="1121"/>
                      <a:pt x="44" y="1121"/>
                      <a:pt x="44" y="1121"/>
                    </a:cubicBezTo>
                    <a:cubicBezTo>
                      <a:pt x="144" y="1121"/>
                      <a:pt x="144" y="1121"/>
                      <a:pt x="144" y="1121"/>
                    </a:cubicBezTo>
                    <a:cubicBezTo>
                      <a:pt x="188" y="1077"/>
                      <a:pt x="188" y="1077"/>
                      <a:pt x="188" y="1077"/>
                    </a:cubicBezTo>
                    <a:cubicBezTo>
                      <a:pt x="22" y="1077"/>
                      <a:pt x="22" y="1077"/>
                      <a:pt x="22" y="1077"/>
                    </a:cubicBezTo>
                    <a:cubicBezTo>
                      <a:pt x="10" y="1077"/>
                      <a:pt x="0" y="1087"/>
                      <a:pt x="0" y="1099"/>
                    </a:cubicBezTo>
                    <a:cubicBezTo>
                      <a:pt x="0" y="1299"/>
                      <a:pt x="0" y="1299"/>
                      <a:pt x="0" y="1299"/>
                    </a:cubicBezTo>
                    <a:cubicBezTo>
                      <a:pt x="0" y="1312"/>
                      <a:pt x="10" y="1321"/>
                      <a:pt x="22" y="1321"/>
                    </a:cubicBezTo>
                    <a:cubicBezTo>
                      <a:pt x="222" y="1321"/>
                      <a:pt x="222" y="1321"/>
                      <a:pt x="222" y="1321"/>
                    </a:cubicBezTo>
                    <a:cubicBezTo>
                      <a:pt x="234" y="1321"/>
                      <a:pt x="244" y="1312"/>
                      <a:pt x="244" y="1299"/>
                    </a:cubicBezTo>
                    <a:cubicBezTo>
                      <a:pt x="244" y="1208"/>
                      <a:pt x="244" y="1208"/>
                      <a:pt x="244" y="1208"/>
                    </a:cubicBezTo>
                    <a:lnTo>
                      <a:pt x="200" y="1252"/>
                    </a:lnTo>
                    <a:close/>
                    <a:moveTo>
                      <a:pt x="824" y="1252"/>
                    </a:moveTo>
                    <a:cubicBezTo>
                      <a:pt x="824" y="1277"/>
                      <a:pt x="824" y="1277"/>
                      <a:pt x="824" y="1277"/>
                    </a:cubicBezTo>
                    <a:cubicBezTo>
                      <a:pt x="668" y="1277"/>
                      <a:pt x="668" y="1277"/>
                      <a:pt x="668" y="1277"/>
                    </a:cubicBezTo>
                    <a:cubicBezTo>
                      <a:pt x="668" y="1121"/>
                      <a:pt x="668" y="1121"/>
                      <a:pt x="668" y="1121"/>
                    </a:cubicBezTo>
                    <a:cubicBezTo>
                      <a:pt x="768" y="1121"/>
                      <a:pt x="768" y="1121"/>
                      <a:pt x="768" y="1121"/>
                    </a:cubicBezTo>
                    <a:cubicBezTo>
                      <a:pt x="812" y="1077"/>
                      <a:pt x="812" y="1077"/>
                      <a:pt x="812" y="1077"/>
                    </a:cubicBezTo>
                    <a:cubicBezTo>
                      <a:pt x="646" y="1077"/>
                      <a:pt x="646" y="1077"/>
                      <a:pt x="646" y="1077"/>
                    </a:cubicBezTo>
                    <a:cubicBezTo>
                      <a:pt x="634" y="1077"/>
                      <a:pt x="624" y="1087"/>
                      <a:pt x="624" y="1099"/>
                    </a:cubicBezTo>
                    <a:cubicBezTo>
                      <a:pt x="624" y="1299"/>
                      <a:pt x="624" y="1299"/>
                      <a:pt x="624" y="1299"/>
                    </a:cubicBezTo>
                    <a:cubicBezTo>
                      <a:pt x="624" y="1312"/>
                      <a:pt x="634" y="1321"/>
                      <a:pt x="646" y="1321"/>
                    </a:cubicBezTo>
                    <a:cubicBezTo>
                      <a:pt x="846" y="1321"/>
                      <a:pt x="846" y="1321"/>
                      <a:pt x="846" y="1321"/>
                    </a:cubicBezTo>
                    <a:cubicBezTo>
                      <a:pt x="858" y="1321"/>
                      <a:pt x="868" y="1312"/>
                      <a:pt x="868" y="1299"/>
                    </a:cubicBezTo>
                    <a:cubicBezTo>
                      <a:pt x="868" y="1208"/>
                      <a:pt x="868" y="1208"/>
                      <a:pt x="868" y="1208"/>
                    </a:cubicBezTo>
                    <a:lnTo>
                      <a:pt x="824" y="1252"/>
                    </a:lnTo>
                    <a:close/>
                    <a:moveTo>
                      <a:pt x="1448" y="1252"/>
                    </a:moveTo>
                    <a:cubicBezTo>
                      <a:pt x="1448" y="1277"/>
                      <a:pt x="1448" y="1277"/>
                      <a:pt x="1448" y="1277"/>
                    </a:cubicBezTo>
                    <a:cubicBezTo>
                      <a:pt x="1292" y="1277"/>
                      <a:pt x="1292" y="1277"/>
                      <a:pt x="1292" y="1277"/>
                    </a:cubicBezTo>
                    <a:cubicBezTo>
                      <a:pt x="1292" y="1121"/>
                      <a:pt x="1292" y="1121"/>
                      <a:pt x="1292" y="1121"/>
                    </a:cubicBezTo>
                    <a:cubicBezTo>
                      <a:pt x="1392" y="1121"/>
                      <a:pt x="1392" y="1121"/>
                      <a:pt x="1392" y="1121"/>
                    </a:cubicBezTo>
                    <a:cubicBezTo>
                      <a:pt x="1436" y="1077"/>
                      <a:pt x="1436" y="1077"/>
                      <a:pt x="1436" y="1077"/>
                    </a:cubicBezTo>
                    <a:cubicBezTo>
                      <a:pt x="1270" y="1077"/>
                      <a:pt x="1270" y="1077"/>
                      <a:pt x="1270" y="1077"/>
                    </a:cubicBezTo>
                    <a:cubicBezTo>
                      <a:pt x="1258" y="1077"/>
                      <a:pt x="1248" y="1087"/>
                      <a:pt x="1248" y="1099"/>
                    </a:cubicBezTo>
                    <a:cubicBezTo>
                      <a:pt x="1248" y="1299"/>
                      <a:pt x="1248" y="1299"/>
                      <a:pt x="1248" y="1299"/>
                    </a:cubicBezTo>
                    <a:cubicBezTo>
                      <a:pt x="1248" y="1312"/>
                      <a:pt x="1258" y="1321"/>
                      <a:pt x="1270" y="1321"/>
                    </a:cubicBezTo>
                    <a:cubicBezTo>
                      <a:pt x="1470" y="1321"/>
                      <a:pt x="1470" y="1321"/>
                      <a:pt x="1470" y="1321"/>
                    </a:cubicBezTo>
                    <a:cubicBezTo>
                      <a:pt x="1482" y="1321"/>
                      <a:pt x="1492" y="1312"/>
                      <a:pt x="1492" y="1299"/>
                    </a:cubicBezTo>
                    <a:cubicBezTo>
                      <a:pt x="1492" y="1208"/>
                      <a:pt x="1492" y="1208"/>
                      <a:pt x="1492" y="1208"/>
                    </a:cubicBezTo>
                    <a:lnTo>
                      <a:pt x="1448" y="1252"/>
                    </a:lnTo>
                    <a:close/>
                    <a:moveTo>
                      <a:pt x="984" y="31"/>
                    </a:moveTo>
                    <a:cubicBezTo>
                      <a:pt x="984" y="31"/>
                      <a:pt x="984" y="31"/>
                      <a:pt x="984" y="31"/>
                    </a:cubicBezTo>
                    <a:cubicBezTo>
                      <a:pt x="975" y="31"/>
                      <a:pt x="966" y="30"/>
                      <a:pt x="959" y="28"/>
                    </a:cubicBezTo>
                    <a:cubicBezTo>
                      <a:pt x="958" y="28"/>
                      <a:pt x="958" y="28"/>
                      <a:pt x="958" y="28"/>
                    </a:cubicBezTo>
                    <a:cubicBezTo>
                      <a:pt x="953" y="30"/>
                      <a:pt x="949" y="35"/>
                      <a:pt x="947" y="40"/>
                    </a:cubicBezTo>
                    <a:cubicBezTo>
                      <a:pt x="919" y="113"/>
                      <a:pt x="880" y="200"/>
                      <a:pt x="866" y="211"/>
                    </a:cubicBezTo>
                    <a:cubicBezTo>
                      <a:pt x="841" y="234"/>
                      <a:pt x="775" y="275"/>
                      <a:pt x="742" y="275"/>
                    </a:cubicBezTo>
                    <a:cubicBezTo>
                      <a:pt x="717" y="275"/>
                      <a:pt x="675" y="253"/>
                      <a:pt x="645" y="232"/>
                    </a:cubicBezTo>
                    <a:cubicBezTo>
                      <a:pt x="644" y="232"/>
                      <a:pt x="644" y="232"/>
                      <a:pt x="644" y="232"/>
                    </a:cubicBezTo>
                    <a:cubicBezTo>
                      <a:pt x="633" y="225"/>
                      <a:pt x="623" y="217"/>
                      <a:pt x="617" y="211"/>
                    </a:cubicBezTo>
                    <a:cubicBezTo>
                      <a:pt x="604" y="200"/>
                      <a:pt x="564" y="113"/>
                      <a:pt x="536" y="40"/>
                    </a:cubicBezTo>
                    <a:cubicBezTo>
                      <a:pt x="533" y="34"/>
                      <a:pt x="529" y="29"/>
                      <a:pt x="523" y="27"/>
                    </a:cubicBezTo>
                    <a:cubicBezTo>
                      <a:pt x="513" y="23"/>
                      <a:pt x="507" y="12"/>
                      <a:pt x="503" y="0"/>
                    </a:cubicBezTo>
                    <a:cubicBezTo>
                      <a:pt x="496" y="4"/>
                      <a:pt x="487" y="6"/>
                      <a:pt x="477" y="6"/>
                    </a:cubicBezTo>
                    <a:cubicBezTo>
                      <a:pt x="472" y="6"/>
                      <a:pt x="465" y="6"/>
                      <a:pt x="458" y="3"/>
                    </a:cubicBezTo>
                    <a:cubicBezTo>
                      <a:pt x="463" y="25"/>
                      <a:pt x="475" y="51"/>
                      <a:pt x="498" y="64"/>
                    </a:cubicBezTo>
                    <a:cubicBezTo>
                      <a:pt x="516" y="109"/>
                      <a:pt x="562" y="222"/>
                      <a:pt x="587" y="244"/>
                    </a:cubicBezTo>
                    <a:cubicBezTo>
                      <a:pt x="591" y="247"/>
                      <a:pt x="595" y="251"/>
                      <a:pt x="601" y="255"/>
                    </a:cubicBezTo>
                    <a:cubicBezTo>
                      <a:pt x="601" y="333"/>
                      <a:pt x="601" y="333"/>
                      <a:pt x="601" y="333"/>
                    </a:cubicBezTo>
                    <a:cubicBezTo>
                      <a:pt x="603" y="335"/>
                      <a:pt x="603" y="335"/>
                      <a:pt x="603" y="335"/>
                    </a:cubicBezTo>
                    <a:cubicBezTo>
                      <a:pt x="604" y="335"/>
                      <a:pt x="620" y="348"/>
                      <a:pt x="642" y="367"/>
                    </a:cubicBezTo>
                    <a:cubicBezTo>
                      <a:pt x="645" y="367"/>
                      <a:pt x="645" y="367"/>
                      <a:pt x="645" y="367"/>
                    </a:cubicBezTo>
                    <a:cubicBezTo>
                      <a:pt x="645" y="284"/>
                      <a:pt x="645" y="284"/>
                      <a:pt x="645" y="284"/>
                    </a:cubicBezTo>
                    <a:cubicBezTo>
                      <a:pt x="675" y="302"/>
                      <a:pt x="712" y="319"/>
                      <a:pt x="742" y="319"/>
                    </a:cubicBezTo>
                    <a:cubicBezTo>
                      <a:pt x="774" y="319"/>
                      <a:pt x="817" y="298"/>
                      <a:pt x="849" y="278"/>
                    </a:cubicBezTo>
                    <a:cubicBezTo>
                      <a:pt x="849" y="365"/>
                      <a:pt x="849" y="365"/>
                      <a:pt x="849" y="365"/>
                    </a:cubicBezTo>
                    <a:cubicBezTo>
                      <a:pt x="871" y="347"/>
                      <a:pt x="886" y="335"/>
                      <a:pt x="886" y="335"/>
                    </a:cubicBezTo>
                    <a:cubicBezTo>
                      <a:pt x="893" y="329"/>
                      <a:pt x="893" y="329"/>
                      <a:pt x="893" y="329"/>
                    </a:cubicBezTo>
                    <a:cubicBezTo>
                      <a:pt x="893" y="246"/>
                      <a:pt x="893" y="246"/>
                      <a:pt x="893" y="246"/>
                    </a:cubicBezTo>
                    <a:cubicBezTo>
                      <a:pt x="894" y="245"/>
                      <a:pt x="895" y="245"/>
                      <a:pt x="896" y="244"/>
                    </a:cubicBezTo>
                    <a:cubicBezTo>
                      <a:pt x="921" y="221"/>
                      <a:pt x="968" y="108"/>
                      <a:pt x="986" y="63"/>
                    </a:cubicBezTo>
                    <a:cubicBezTo>
                      <a:pt x="1001" y="53"/>
                      <a:pt x="1011" y="39"/>
                      <a:pt x="1018" y="26"/>
                    </a:cubicBezTo>
                    <a:cubicBezTo>
                      <a:pt x="1007" y="29"/>
                      <a:pt x="995" y="31"/>
                      <a:pt x="984" y="31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53" name="Freeform 52">
                <a:extLst>
                  <a:ext uri="{FF2B5EF4-FFF2-40B4-BE49-F238E27FC236}">
                    <a16:creationId xmlns:a16="http://schemas.microsoft.com/office/drawing/2014/main" xmlns="" id="{39F34DBB-0216-4E11-8D23-D6A17B102C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79" y="444"/>
                <a:ext cx="2778" cy="3190"/>
              </a:xfrm>
              <a:custGeom>
                <a:avLst/>
                <a:gdLst>
                  <a:gd name="T0" fmla="*/ 171 w 1483"/>
                  <a:gd name="T1" fmla="*/ 1608 h 1701"/>
                  <a:gd name="T2" fmla="*/ 84 w 1483"/>
                  <a:gd name="T3" fmla="*/ 1694 h 1701"/>
                  <a:gd name="T4" fmla="*/ 53 w 1483"/>
                  <a:gd name="T5" fmla="*/ 1694 h 1701"/>
                  <a:gd name="T6" fmla="*/ 8 w 1483"/>
                  <a:gd name="T7" fmla="*/ 1619 h 1701"/>
                  <a:gd name="T8" fmla="*/ 39 w 1483"/>
                  <a:gd name="T9" fmla="*/ 1619 h 1701"/>
                  <a:gd name="T10" fmla="*/ 167 w 1483"/>
                  <a:gd name="T11" fmla="*/ 1549 h 1701"/>
                  <a:gd name="T12" fmla="*/ 211 w 1483"/>
                  <a:gd name="T13" fmla="*/ 1515 h 1701"/>
                  <a:gd name="T14" fmla="*/ 226 w 1483"/>
                  <a:gd name="T15" fmla="*/ 1552 h 1701"/>
                  <a:gd name="T16" fmla="*/ 835 w 1483"/>
                  <a:gd name="T17" fmla="*/ 1515 h 1701"/>
                  <a:gd name="T18" fmla="*/ 791 w 1483"/>
                  <a:gd name="T19" fmla="*/ 1549 h 1701"/>
                  <a:gd name="T20" fmla="*/ 663 w 1483"/>
                  <a:gd name="T21" fmla="*/ 1619 h 1701"/>
                  <a:gd name="T22" fmla="*/ 632 w 1483"/>
                  <a:gd name="T23" fmla="*/ 1619 h 1701"/>
                  <a:gd name="T24" fmla="*/ 677 w 1483"/>
                  <a:gd name="T25" fmla="*/ 1694 h 1701"/>
                  <a:gd name="T26" fmla="*/ 708 w 1483"/>
                  <a:gd name="T27" fmla="*/ 1694 h 1701"/>
                  <a:gd name="T28" fmla="*/ 795 w 1483"/>
                  <a:gd name="T29" fmla="*/ 1608 h 1701"/>
                  <a:gd name="T30" fmla="*/ 850 w 1483"/>
                  <a:gd name="T31" fmla="*/ 1521 h 1701"/>
                  <a:gd name="T32" fmla="*/ 1459 w 1483"/>
                  <a:gd name="T33" fmla="*/ 1515 h 1701"/>
                  <a:gd name="T34" fmla="*/ 1317 w 1483"/>
                  <a:gd name="T35" fmla="*/ 1648 h 1701"/>
                  <a:gd name="T36" fmla="*/ 1272 w 1483"/>
                  <a:gd name="T37" fmla="*/ 1612 h 1701"/>
                  <a:gd name="T38" fmla="*/ 1257 w 1483"/>
                  <a:gd name="T39" fmla="*/ 1650 h 1701"/>
                  <a:gd name="T40" fmla="*/ 1317 w 1483"/>
                  <a:gd name="T41" fmla="*/ 1701 h 1701"/>
                  <a:gd name="T42" fmla="*/ 1475 w 1483"/>
                  <a:gd name="T43" fmla="*/ 1552 h 1701"/>
                  <a:gd name="T44" fmla="*/ 1193 w 1483"/>
                  <a:gd name="T45" fmla="*/ 1053 h 1701"/>
                  <a:gd name="T46" fmla="*/ 842 w 1483"/>
                  <a:gd name="T47" fmla="*/ 831 h 1701"/>
                  <a:gd name="T48" fmla="*/ 676 w 1483"/>
                  <a:gd name="T49" fmla="*/ 966 h 1701"/>
                  <a:gd name="T50" fmla="*/ 502 w 1483"/>
                  <a:gd name="T51" fmla="*/ 831 h 1701"/>
                  <a:gd name="T52" fmla="*/ 277 w 1483"/>
                  <a:gd name="T53" fmla="*/ 869 h 1701"/>
                  <a:gd name="T54" fmla="*/ 163 w 1483"/>
                  <a:gd name="T55" fmla="*/ 1070 h 1701"/>
                  <a:gd name="T56" fmla="*/ 1193 w 1483"/>
                  <a:gd name="T57" fmla="*/ 1053 h 1701"/>
                  <a:gd name="T58" fmla="*/ 965 w 1483"/>
                  <a:gd name="T59" fmla="*/ 296 h 1701"/>
                  <a:gd name="T60" fmla="*/ 381 w 1483"/>
                  <a:gd name="T61" fmla="*/ 296 h 1701"/>
                  <a:gd name="T62" fmla="*/ 397 w 1483"/>
                  <a:gd name="T63" fmla="*/ 418 h 1701"/>
                  <a:gd name="T64" fmla="*/ 512 w 1483"/>
                  <a:gd name="T65" fmla="*/ 249 h 1701"/>
                  <a:gd name="T66" fmla="*/ 895 w 1483"/>
                  <a:gd name="T67" fmla="*/ 443 h 1701"/>
                  <a:gd name="T68" fmla="*/ 948 w 1483"/>
                  <a:gd name="T69" fmla="*/ 437 h 1701"/>
                  <a:gd name="T70" fmla="*/ 964 w 1483"/>
                  <a:gd name="T71" fmla="*/ 352 h 170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1483" h="1701">
                    <a:moveTo>
                      <a:pt x="226" y="1552"/>
                    </a:moveTo>
                    <a:cubicBezTo>
                      <a:pt x="171" y="1608"/>
                      <a:pt x="171" y="1608"/>
                      <a:pt x="171" y="1608"/>
                    </a:cubicBezTo>
                    <a:cubicBezTo>
                      <a:pt x="127" y="1652"/>
                      <a:pt x="127" y="1652"/>
                      <a:pt x="127" y="1652"/>
                    </a:cubicBezTo>
                    <a:cubicBezTo>
                      <a:pt x="84" y="1694"/>
                      <a:pt x="84" y="1694"/>
                      <a:pt x="84" y="1694"/>
                    </a:cubicBezTo>
                    <a:cubicBezTo>
                      <a:pt x="80" y="1699"/>
                      <a:pt x="75" y="1701"/>
                      <a:pt x="69" y="1701"/>
                    </a:cubicBezTo>
                    <a:cubicBezTo>
                      <a:pt x="63" y="1701"/>
                      <a:pt x="57" y="1699"/>
                      <a:pt x="53" y="1694"/>
                    </a:cubicBezTo>
                    <a:cubicBezTo>
                      <a:pt x="8" y="1650"/>
                      <a:pt x="8" y="1650"/>
                      <a:pt x="8" y="1650"/>
                    </a:cubicBezTo>
                    <a:cubicBezTo>
                      <a:pt x="0" y="1641"/>
                      <a:pt x="0" y="1627"/>
                      <a:pt x="8" y="1619"/>
                    </a:cubicBezTo>
                    <a:cubicBezTo>
                      <a:pt x="13" y="1614"/>
                      <a:pt x="18" y="1612"/>
                      <a:pt x="24" y="1612"/>
                    </a:cubicBezTo>
                    <a:cubicBezTo>
                      <a:pt x="29" y="1612"/>
                      <a:pt x="35" y="1614"/>
                      <a:pt x="39" y="1619"/>
                    </a:cubicBezTo>
                    <a:cubicBezTo>
                      <a:pt x="69" y="1648"/>
                      <a:pt x="69" y="1648"/>
                      <a:pt x="69" y="1648"/>
                    </a:cubicBezTo>
                    <a:cubicBezTo>
                      <a:pt x="167" y="1549"/>
                      <a:pt x="167" y="1549"/>
                      <a:pt x="167" y="1549"/>
                    </a:cubicBezTo>
                    <a:cubicBezTo>
                      <a:pt x="195" y="1521"/>
                      <a:pt x="195" y="1521"/>
                      <a:pt x="195" y="1521"/>
                    </a:cubicBezTo>
                    <a:cubicBezTo>
                      <a:pt x="199" y="1517"/>
                      <a:pt x="205" y="1515"/>
                      <a:pt x="211" y="1515"/>
                    </a:cubicBezTo>
                    <a:cubicBezTo>
                      <a:pt x="216" y="1515"/>
                      <a:pt x="222" y="1517"/>
                      <a:pt x="226" y="1521"/>
                    </a:cubicBezTo>
                    <a:cubicBezTo>
                      <a:pt x="235" y="1530"/>
                      <a:pt x="235" y="1544"/>
                      <a:pt x="226" y="1552"/>
                    </a:cubicBezTo>
                    <a:close/>
                    <a:moveTo>
                      <a:pt x="850" y="1521"/>
                    </a:moveTo>
                    <a:cubicBezTo>
                      <a:pt x="846" y="1517"/>
                      <a:pt x="840" y="1515"/>
                      <a:pt x="835" y="1515"/>
                    </a:cubicBezTo>
                    <a:cubicBezTo>
                      <a:pt x="829" y="1515"/>
                      <a:pt x="823" y="1517"/>
                      <a:pt x="819" y="1521"/>
                    </a:cubicBezTo>
                    <a:cubicBezTo>
                      <a:pt x="791" y="1549"/>
                      <a:pt x="791" y="1549"/>
                      <a:pt x="791" y="1549"/>
                    </a:cubicBezTo>
                    <a:cubicBezTo>
                      <a:pt x="693" y="1648"/>
                      <a:pt x="693" y="1648"/>
                      <a:pt x="693" y="1648"/>
                    </a:cubicBezTo>
                    <a:cubicBezTo>
                      <a:pt x="663" y="1619"/>
                      <a:pt x="663" y="1619"/>
                      <a:pt x="663" y="1619"/>
                    </a:cubicBezTo>
                    <a:cubicBezTo>
                      <a:pt x="659" y="1614"/>
                      <a:pt x="653" y="1612"/>
                      <a:pt x="648" y="1612"/>
                    </a:cubicBezTo>
                    <a:cubicBezTo>
                      <a:pt x="642" y="1612"/>
                      <a:pt x="637" y="1614"/>
                      <a:pt x="632" y="1619"/>
                    </a:cubicBezTo>
                    <a:cubicBezTo>
                      <a:pt x="624" y="1627"/>
                      <a:pt x="624" y="1641"/>
                      <a:pt x="632" y="1650"/>
                    </a:cubicBezTo>
                    <a:cubicBezTo>
                      <a:pt x="677" y="1694"/>
                      <a:pt x="677" y="1694"/>
                      <a:pt x="677" y="1694"/>
                    </a:cubicBezTo>
                    <a:cubicBezTo>
                      <a:pt x="681" y="1699"/>
                      <a:pt x="687" y="1701"/>
                      <a:pt x="693" y="1701"/>
                    </a:cubicBezTo>
                    <a:cubicBezTo>
                      <a:pt x="699" y="1701"/>
                      <a:pt x="704" y="1699"/>
                      <a:pt x="708" y="1694"/>
                    </a:cubicBezTo>
                    <a:cubicBezTo>
                      <a:pt x="751" y="1652"/>
                      <a:pt x="751" y="1652"/>
                      <a:pt x="751" y="1652"/>
                    </a:cubicBezTo>
                    <a:cubicBezTo>
                      <a:pt x="795" y="1608"/>
                      <a:pt x="795" y="1608"/>
                      <a:pt x="795" y="1608"/>
                    </a:cubicBezTo>
                    <a:cubicBezTo>
                      <a:pt x="850" y="1552"/>
                      <a:pt x="850" y="1552"/>
                      <a:pt x="850" y="1552"/>
                    </a:cubicBezTo>
                    <a:cubicBezTo>
                      <a:pt x="859" y="1544"/>
                      <a:pt x="859" y="1530"/>
                      <a:pt x="850" y="1521"/>
                    </a:cubicBezTo>
                    <a:close/>
                    <a:moveTo>
                      <a:pt x="1475" y="1521"/>
                    </a:moveTo>
                    <a:cubicBezTo>
                      <a:pt x="1470" y="1517"/>
                      <a:pt x="1465" y="1515"/>
                      <a:pt x="1459" y="1515"/>
                    </a:cubicBezTo>
                    <a:cubicBezTo>
                      <a:pt x="1454" y="1515"/>
                      <a:pt x="1448" y="1517"/>
                      <a:pt x="1444" y="1521"/>
                    </a:cubicBezTo>
                    <a:cubicBezTo>
                      <a:pt x="1317" y="1648"/>
                      <a:pt x="1317" y="1648"/>
                      <a:pt x="1317" y="1648"/>
                    </a:cubicBezTo>
                    <a:cubicBezTo>
                      <a:pt x="1288" y="1619"/>
                      <a:pt x="1288" y="1619"/>
                      <a:pt x="1288" y="1619"/>
                    </a:cubicBezTo>
                    <a:cubicBezTo>
                      <a:pt x="1284" y="1614"/>
                      <a:pt x="1278" y="1612"/>
                      <a:pt x="1272" y="1612"/>
                    </a:cubicBezTo>
                    <a:cubicBezTo>
                      <a:pt x="1267" y="1612"/>
                      <a:pt x="1261" y="1614"/>
                      <a:pt x="1257" y="1619"/>
                    </a:cubicBezTo>
                    <a:cubicBezTo>
                      <a:pt x="1248" y="1627"/>
                      <a:pt x="1248" y="1641"/>
                      <a:pt x="1257" y="1650"/>
                    </a:cubicBezTo>
                    <a:cubicBezTo>
                      <a:pt x="1302" y="1694"/>
                      <a:pt x="1302" y="1694"/>
                      <a:pt x="1302" y="1694"/>
                    </a:cubicBezTo>
                    <a:cubicBezTo>
                      <a:pt x="1306" y="1699"/>
                      <a:pt x="1311" y="1701"/>
                      <a:pt x="1317" y="1701"/>
                    </a:cubicBezTo>
                    <a:cubicBezTo>
                      <a:pt x="1323" y="1701"/>
                      <a:pt x="1329" y="1699"/>
                      <a:pt x="1333" y="1694"/>
                    </a:cubicBezTo>
                    <a:cubicBezTo>
                      <a:pt x="1475" y="1552"/>
                      <a:pt x="1475" y="1552"/>
                      <a:pt x="1475" y="1552"/>
                    </a:cubicBezTo>
                    <a:cubicBezTo>
                      <a:pt x="1483" y="1544"/>
                      <a:pt x="1483" y="1530"/>
                      <a:pt x="1475" y="1521"/>
                    </a:cubicBezTo>
                    <a:close/>
                    <a:moveTo>
                      <a:pt x="1193" y="1053"/>
                    </a:moveTo>
                    <a:cubicBezTo>
                      <a:pt x="1177" y="1010"/>
                      <a:pt x="1131" y="898"/>
                      <a:pt x="1067" y="869"/>
                    </a:cubicBezTo>
                    <a:cubicBezTo>
                      <a:pt x="988" y="832"/>
                      <a:pt x="842" y="831"/>
                      <a:pt x="842" y="831"/>
                    </a:cubicBezTo>
                    <a:cubicBezTo>
                      <a:pt x="842" y="831"/>
                      <a:pt x="818" y="850"/>
                      <a:pt x="786" y="877"/>
                    </a:cubicBezTo>
                    <a:cubicBezTo>
                      <a:pt x="753" y="903"/>
                      <a:pt x="712" y="937"/>
                      <a:pt x="676" y="966"/>
                    </a:cubicBezTo>
                    <a:cubicBezTo>
                      <a:pt x="673" y="968"/>
                      <a:pt x="670" y="968"/>
                      <a:pt x="668" y="966"/>
                    </a:cubicBezTo>
                    <a:cubicBezTo>
                      <a:pt x="615" y="924"/>
                      <a:pt x="502" y="831"/>
                      <a:pt x="502" y="831"/>
                    </a:cubicBezTo>
                    <a:cubicBezTo>
                      <a:pt x="502" y="831"/>
                      <a:pt x="466" y="831"/>
                      <a:pt x="419" y="836"/>
                    </a:cubicBezTo>
                    <a:cubicBezTo>
                      <a:pt x="373" y="841"/>
                      <a:pt x="317" y="851"/>
                      <a:pt x="277" y="869"/>
                    </a:cubicBezTo>
                    <a:cubicBezTo>
                      <a:pt x="213" y="898"/>
                      <a:pt x="167" y="1010"/>
                      <a:pt x="151" y="1053"/>
                    </a:cubicBezTo>
                    <a:cubicBezTo>
                      <a:pt x="148" y="1062"/>
                      <a:pt x="154" y="1070"/>
                      <a:pt x="163" y="1070"/>
                    </a:cubicBezTo>
                    <a:cubicBezTo>
                      <a:pt x="1181" y="1070"/>
                      <a:pt x="1181" y="1070"/>
                      <a:pt x="1181" y="1070"/>
                    </a:cubicBezTo>
                    <a:cubicBezTo>
                      <a:pt x="1190" y="1070"/>
                      <a:pt x="1196" y="1062"/>
                      <a:pt x="1193" y="1053"/>
                    </a:cubicBezTo>
                    <a:close/>
                    <a:moveTo>
                      <a:pt x="964" y="352"/>
                    </a:moveTo>
                    <a:cubicBezTo>
                      <a:pt x="965" y="334"/>
                      <a:pt x="965" y="316"/>
                      <a:pt x="965" y="296"/>
                    </a:cubicBezTo>
                    <a:cubicBezTo>
                      <a:pt x="965" y="133"/>
                      <a:pt x="838" y="0"/>
                      <a:pt x="673" y="0"/>
                    </a:cubicBezTo>
                    <a:cubicBezTo>
                      <a:pt x="507" y="0"/>
                      <a:pt x="381" y="133"/>
                      <a:pt x="381" y="296"/>
                    </a:cubicBezTo>
                    <a:cubicBezTo>
                      <a:pt x="381" y="330"/>
                      <a:pt x="385" y="394"/>
                      <a:pt x="394" y="414"/>
                    </a:cubicBezTo>
                    <a:cubicBezTo>
                      <a:pt x="395" y="416"/>
                      <a:pt x="396" y="417"/>
                      <a:pt x="397" y="418"/>
                    </a:cubicBezTo>
                    <a:cubicBezTo>
                      <a:pt x="403" y="424"/>
                      <a:pt x="408" y="422"/>
                      <a:pt x="413" y="414"/>
                    </a:cubicBezTo>
                    <a:cubicBezTo>
                      <a:pt x="431" y="387"/>
                      <a:pt x="447" y="293"/>
                      <a:pt x="512" y="249"/>
                    </a:cubicBezTo>
                    <a:cubicBezTo>
                      <a:pt x="520" y="243"/>
                      <a:pt x="540" y="232"/>
                      <a:pt x="540" y="232"/>
                    </a:cubicBezTo>
                    <a:cubicBezTo>
                      <a:pt x="723" y="232"/>
                      <a:pt x="862" y="424"/>
                      <a:pt x="895" y="443"/>
                    </a:cubicBezTo>
                    <a:cubicBezTo>
                      <a:pt x="900" y="446"/>
                      <a:pt x="906" y="447"/>
                      <a:pt x="912" y="447"/>
                    </a:cubicBezTo>
                    <a:cubicBezTo>
                      <a:pt x="923" y="446"/>
                      <a:pt x="936" y="442"/>
                      <a:pt x="948" y="437"/>
                    </a:cubicBezTo>
                    <a:cubicBezTo>
                      <a:pt x="968" y="428"/>
                      <a:pt x="985" y="416"/>
                      <a:pt x="985" y="416"/>
                    </a:cubicBezTo>
                    <a:cubicBezTo>
                      <a:pt x="967" y="392"/>
                      <a:pt x="962" y="368"/>
                      <a:pt x="964" y="352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</p:grpSp>
      </p:grpSp>
      <p:grpSp>
        <p:nvGrpSpPr>
          <p:cNvPr id="21" name="Group 20"/>
          <p:cNvGrpSpPr/>
          <p:nvPr/>
        </p:nvGrpSpPr>
        <p:grpSpPr>
          <a:xfrm>
            <a:off x="994490" y="3101876"/>
            <a:ext cx="7797084" cy="453462"/>
            <a:chOff x="1325987" y="4088705"/>
            <a:chExt cx="10396112" cy="604429"/>
          </a:xfrm>
        </p:grpSpPr>
        <p:sp>
          <p:nvSpPr>
            <p:cNvPr id="9" name="Rectangle 8"/>
            <p:cNvSpPr/>
            <p:nvPr/>
          </p:nvSpPr>
          <p:spPr>
            <a:xfrm>
              <a:off x="2568359" y="4088705"/>
              <a:ext cx="2720930" cy="604429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750"/>
                </a:spcAft>
              </a:pPr>
              <a:r>
                <a:rPr lang="ru-RU" sz="1100" b="1" dirty="0">
                  <a:solidFill>
                    <a:srgbClr val="575757"/>
                  </a:solidFill>
                </a:rPr>
                <a:t>Отсутствие дискриминации бизнеса для доступа к инфраструктуре</a:t>
              </a:r>
            </a:p>
          </p:txBody>
        </p:sp>
        <p:sp>
          <p:nvSpPr>
            <p:cNvPr id="16" name="Oval 20"/>
            <p:cNvSpPr>
              <a:spLocks noChangeArrowheads="1"/>
            </p:cNvSpPr>
            <p:nvPr/>
          </p:nvSpPr>
          <p:spPr bwMode="auto">
            <a:xfrm>
              <a:off x="1325987" y="4255982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ru-RU" sz="900" dirty="0">
                  <a:solidFill>
                    <a:schemeClr val="bg1"/>
                  </a:solidFill>
                </a:rPr>
                <a:t>3</a:t>
              </a:r>
            </a:p>
          </p:txBody>
        </p:sp>
        <p:grpSp>
          <p:nvGrpSpPr>
            <p:cNvPr id="36" name="Group 35"/>
            <p:cNvGrpSpPr/>
            <p:nvPr/>
          </p:nvGrpSpPr>
          <p:grpSpPr>
            <a:xfrm>
              <a:off x="5359404" y="4255982"/>
              <a:ext cx="269875" cy="269875"/>
              <a:chOff x="982662" y="1847850"/>
              <a:chExt cx="269875" cy="269875"/>
            </a:xfrm>
          </p:grpSpPr>
          <p:sp>
            <p:nvSpPr>
              <p:cNvPr id="37" name="Oval 50"/>
              <p:cNvSpPr>
                <a:spLocks noChangeArrowheads="1"/>
              </p:cNvSpPr>
              <p:nvPr/>
            </p:nvSpPr>
            <p:spPr bwMode="auto">
              <a:xfrm>
                <a:off x="982662" y="1847850"/>
                <a:ext cx="269875" cy="269875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38" name="Freeform 51"/>
              <p:cNvSpPr>
                <a:spLocks/>
              </p:cNvSpPr>
              <p:nvPr/>
            </p:nvSpPr>
            <p:spPr bwMode="auto">
              <a:xfrm>
                <a:off x="1082675" y="1895475"/>
                <a:ext cx="96837" cy="174625"/>
              </a:xfrm>
              <a:custGeom>
                <a:avLst/>
                <a:gdLst>
                  <a:gd name="T0" fmla="*/ 6 w 61"/>
                  <a:gd name="T1" fmla="*/ 0 h 110"/>
                  <a:gd name="T2" fmla="*/ 0 w 61"/>
                  <a:gd name="T3" fmla="*/ 7 h 110"/>
                  <a:gd name="T4" fmla="*/ 48 w 61"/>
                  <a:gd name="T5" fmla="*/ 55 h 110"/>
                  <a:gd name="T6" fmla="*/ 0 w 61"/>
                  <a:gd name="T7" fmla="*/ 104 h 110"/>
                  <a:gd name="T8" fmla="*/ 6 w 61"/>
                  <a:gd name="T9" fmla="*/ 110 h 110"/>
                  <a:gd name="T10" fmla="*/ 54 w 61"/>
                  <a:gd name="T11" fmla="*/ 62 h 110"/>
                  <a:gd name="T12" fmla="*/ 61 w 61"/>
                  <a:gd name="T13" fmla="*/ 55 h 110"/>
                  <a:gd name="T14" fmla="*/ 54 w 61"/>
                  <a:gd name="T15" fmla="*/ 49 h 110"/>
                  <a:gd name="T16" fmla="*/ 6 w 61"/>
                  <a:gd name="T17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1" h="110">
                    <a:moveTo>
                      <a:pt x="6" y="0"/>
                    </a:moveTo>
                    <a:lnTo>
                      <a:pt x="0" y="7"/>
                    </a:lnTo>
                    <a:lnTo>
                      <a:pt x="48" y="55"/>
                    </a:lnTo>
                    <a:lnTo>
                      <a:pt x="0" y="104"/>
                    </a:lnTo>
                    <a:lnTo>
                      <a:pt x="6" y="110"/>
                    </a:lnTo>
                    <a:lnTo>
                      <a:pt x="54" y="62"/>
                    </a:lnTo>
                    <a:lnTo>
                      <a:pt x="61" y="55"/>
                    </a:lnTo>
                    <a:lnTo>
                      <a:pt x="54" y="49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48" name="Rectangle 47"/>
            <p:cNvSpPr/>
            <p:nvPr/>
          </p:nvSpPr>
          <p:spPr>
            <a:xfrm>
              <a:off x="5753100" y="4172631"/>
              <a:ext cx="5968999" cy="436578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750"/>
                </a:spcAft>
              </a:pPr>
              <a:r>
                <a:rPr lang="ru-RU" sz="1100" dirty="0">
                  <a:solidFill>
                    <a:srgbClr val="575757"/>
                  </a:solidFill>
                </a:rPr>
                <a:t>Равный доступ повысит эффективность использования сети и освободит </a:t>
              </a:r>
              <a:r>
                <a:rPr lang="ru-RU" sz="1100" b="1" dirty="0">
                  <a:solidFill>
                    <a:srgbClr val="575757"/>
                  </a:solidFill>
                </a:rPr>
                <a:t>средства для инвестиций в новые рынки</a:t>
              </a:r>
            </a:p>
          </p:txBody>
        </p:sp>
        <p:grpSp>
          <p:nvGrpSpPr>
            <p:cNvPr id="54" name="bcgIcons_GoToMarket">
              <a:extLst>
                <a:ext uri="{FF2B5EF4-FFF2-40B4-BE49-F238E27FC236}">
                  <a16:creationId xmlns:a16="http://schemas.microsoft.com/office/drawing/2014/main" xmlns="" id="{80DCD6BF-47C8-41B6-935A-8B6D6CCE7BF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813503" y="4100038"/>
              <a:ext cx="581225" cy="581764"/>
              <a:chOff x="1682" y="0"/>
              <a:chExt cx="4316" cy="4320"/>
            </a:xfrm>
          </p:grpSpPr>
          <p:sp>
            <p:nvSpPr>
              <p:cNvPr id="55" name="AutoShape 14">
                <a:extLst>
                  <a:ext uri="{FF2B5EF4-FFF2-40B4-BE49-F238E27FC236}">
                    <a16:creationId xmlns:a16="http://schemas.microsoft.com/office/drawing/2014/main" xmlns="" id="{6B6264DF-7B72-47C2-A253-60D979D85B1E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56" name="Freeform 16">
                <a:extLst>
                  <a:ext uri="{FF2B5EF4-FFF2-40B4-BE49-F238E27FC236}">
                    <a16:creationId xmlns:a16="http://schemas.microsoft.com/office/drawing/2014/main" xmlns="" id="{FF46FB5E-9D6C-47F1-A06B-2A72B07FF12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574" y="296"/>
                <a:ext cx="2605" cy="2697"/>
              </a:xfrm>
              <a:custGeom>
                <a:avLst/>
                <a:gdLst>
                  <a:gd name="T0" fmla="*/ 540 w 1391"/>
                  <a:gd name="T1" fmla="*/ 461 h 1438"/>
                  <a:gd name="T2" fmla="*/ 144 w 1391"/>
                  <a:gd name="T3" fmla="*/ 866 h 1438"/>
                  <a:gd name="T4" fmla="*/ 204 w 1391"/>
                  <a:gd name="T5" fmla="*/ 1230 h 1438"/>
                  <a:gd name="T6" fmla="*/ 235 w 1391"/>
                  <a:gd name="T7" fmla="*/ 1261 h 1438"/>
                  <a:gd name="T8" fmla="*/ 122 w 1391"/>
                  <a:gd name="T9" fmla="*/ 1364 h 1438"/>
                  <a:gd name="T10" fmla="*/ 121 w 1391"/>
                  <a:gd name="T11" fmla="*/ 1364 h 1438"/>
                  <a:gd name="T12" fmla="*/ 8 w 1391"/>
                  <a:gd name="T13" fmla="*/ 1258 h 1438"/>
                  <a:gd name="T14" fmla="*/ 40 w 1391"/>
                  <a:gd name="T15" fmla="*/ 1228 h 1438"/>
                  <a:gd name="T16" fmla="*/ 100 w 1391"/>
                  <a:gd name="T17" fmla="*/ 857 h 1438"/>
                  <a:gd name="T18" fmla="*/ 496 w 1391"/>
                  <a:gd name="T19" fmla="*/ 452 h 1438"/>
                  <a:gd name="T20" fmla="*/ 518 w 1391"/>
                  <a:gd name="T21" fmla="*/ 0 h 1438"/>
                  <a:gd name="T22" fmla="*/ 758 w 1391"/>
                  <a:gd name="T23" fmla="*/ 746 h 1438"/>
                  <a:gd name="T24" fmla="*/ 699 w 1391"/>
                  <a:gd name="T25" fmla="*/ 22 h 1438"/>
                  <a:gd name="T26" fmla="*/ 655 w 1391"/>
                  <a:gd name="T27" fmla="*/ 22 h 1438"/>
                  <a:gd name="T28" fmla="*/ 594 w 1391"/>
                  <a:gd name="T29" fmla="*/ 744 h 1438"/>
                  <a:gd name="T30" fmla="*/ 562 w 1391"/>
                  <a:gd name="T31" fmla="*/ 775 h 1438"/>
                  <a:gd name="T32" fmla="*/ 674 w 1391"/>
                  <a:gd name="T33" fmla="*/ 880 h 1438"/>
                  <a:gd name="T34" fmla="*/ 690 w 1391"/>
                  <a:gd name="T35" fmla="*/ 874 h 1438"/>
                  <a:gd name="T36" fmla="*/ 790 w 1391"/>
                  <a:gd name="T37" fmla="*/ 747 h 1438"/>
                  <a:gd name="T38" fmla="*/ 1111 w 1391"/>
                  <a:gd name="T39" fmla="*/ 886 h 1438"/>
                  <a:gd name="T40" fmla="*/ 1051 w 1391"/>
                  <a:gd name="T41" fmla="*/ 726 h 1438"/>
                  <a:gd name="T42" fmla="*/ 858 w 1391"/>
                  <a:gd name="T43" fmla="*/ 524 h 1438"/>
                  <a:gd name="T44" fmla="*/ 836 w 1391"/>
                  <a:gd name="T45" fmla="*/ 0 h 1438"/>
                  <a:gd name="T46" fmla="*/ 814 w 1391"/>
                  <a:gd name="T47" fmla="*/ 533 h 1438"/>
                  <a:gd name="T48" fmla="*/ 1007 w 1391"/>
                  <a:gd name="T49" fmla="*/ 735 h 1438"/>
                  <a:gd name="T50" fmla="*/ 947 w 1391"/>
                  <a:gd name="T51" fmla="*/ 884 h 1438"/>
                  <a:gd name="T52" fmla="*/ 915 w 1391"/>
                  <a:gd name="T53" fmla="*/ 915 h 1438"/>
                  <a:gd name="T54" fmla="*/ 1027 w 1391"/>
                  <a:gd name="T55" fmla="*/ 1021 h 1438"/>
                  <a:gd name="T56" fmla="*/ 1043 w 1391"/>
                  <a:gd name="T57" fmla="*/ 1014 h 1438"/>
                  <a:gd name="T58" fmla="*/ 1142 w 1391"/>
                  <a:gd name="T59" fmla="*/ 887 h 1438"/>
                  <a:gd name="T60" fmla="*/ 1383 w 1391"/>
                  <a:gd name="T61" fmla="*/ 1304 h 1438"/>
                  <a:gd name="T62" fmla="*/ 1291 w 1391"/>
                  <a:gd name="T63" fmla="*/ 1362 h 1438"/>
                  <a:gd name="T64" fmla="*/ 1285 w 1391"/>
                  <a:gd name="T65" fmla="*/ 618 h 1438"/>
                  <a:gd name="T66" fmla="*/ 1016 w 1391"/>
                  <a:gd name="T67" fmla="*/ 22 h 1438"/>
                  <a:gd name="T68" fmla="*/ 972 w 1391"/>
                  <a:gd name="T69" fmla="*/ 22 h 1438"/>
                  <a:gd name="T70" fmla="*/ 979 w 1391"/>
                  <a:gd name="T71" fmla="*/ 373 h 1438"/>
                  <a:gd name="T72" fmla="*/ 1247 w 1391"/>
                  <a:gd name="T73" fmla="*/ 1363 h 1438"/>
                  <a:gd name="T74" fmla="*/ 1156 w 1391"/>
                  <a:gd name="T75" fmla="*/ 1301 h 1438"/>
                  <a:gd name="T76" fmla="*/ 1252 w 1391"/>
                  <a:gd name="T77" fmla="*/ 1431 h 1438"/>
                  <a:gd name="T78" fmla="*/ 1268 w 1391"/>
                  <a:gd name="T79" fmla="*/ 1438 h 1438"/>
                  <a:gd name="T80" fmla="*/ 1288 w 1391"/>
                  <a:gd name="T81" fmla="*/ 1427 h 1438"/>
                  <a:gd name="T82" fmla="*/ 1383 w 1391"/>
                  <a:gd name="T83" fmla="*/ 1304 h 143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391" h="1438">
                    <a:moveTo>
                      <a:pt x="540" y="22"/>
                    </a:moveTo>
                    <a:cubicBezTo>
                      <a:pt x="540" y="461"/>
                      <a:pt x="540" y="461"/>
                      <a:pt x="540" y="461"/>
                    </a:cubicBezTo>
                    <a:cubicBezTo>
                      <a:pt x="540" y="467"/>
                      <a:pt x="538" y="472"/>
                      <a:pt x="534" y="476"/>
                    </a:cubicBezTo>
                    <a:cubicBezTo>
                      <a:pt x="144" y="866"/>
                      <a:pt x="144" y="866"/>
                      <a:pt x="144" y="866"/>
                    </a:cubicBezTo>
                    <a:cubicBezTo>
                      <a:pt x="144" y="1289"/>
                      <a:pt x="144" y="1289"/>
                      <a:pt x="144" y="1289"/>
                    </a:cubicBezTo>
                    <a:cubicBezTo>
                      <a:pt x="204" y="1230"/>
                      <a:pt x="204" y="1230"/>
                      <a:pt x="204" y="1230"/>
                    </a:cubicBezTo>
                    <a:cubicBezTo>
                      <a:pt x="213" y="1221"/>
                      <a:pt x="227" y="1221"/>
                      <a:pt x="235" y="1230"/>
                    </a:cubicBezTo>
                    <a:cubicBezTo>
                      <a:pt x="244" y="1239"/>
                      <a:pt x="244" y="1253"/>
                      <a:pt x="235" y="1261"/>
                    </a:cubicBezTo>
                    <a:cubicBezTo>
                      <a:pt x="141" y="1353"/>
                      <a:pt x="141" y="1353"/>
                      <a:pt x="141" y="1353"/>
                    </a:cubicBezTo>
                    <a:cubicBezTo>
                      <a:pt x="137" y="1360"/>
                      <a:pt x="130" y="1364"/>
                      <a:pt x="122" y="1364"/>
                    </a:cubicBezTo>
                    <a:cubicBezTo>
                      <a:pt x="122" y="1364"/>
                      <a:pt x="121" y="1364"/>
                      <a:pt x="121" y="1364"/>
                    </a:cubicBezTo>
                    <a:cubicBezTo>
                      <a:pt x="121" y="1364"/>
                      <a:pt x="121" y="1364"/>
                      <a:pt x="121" y="1364"/>
                    </a:cubicBezTo>
                    <a:cubicBezTo>
                      <a:pt x="115" y="1364"/>
                      <a:pt x="109" y="1362"/>
                      <a:pt x="105" y="1357"/>
                    </a:cubicBezTo>
                    <a:cubicBezTo>
                      <a:pt x="8" y="1258"/>
                      <a:pt x="8" y="1258"/>
                      <a:pt x="8" y="1258"/>
                    </a:cubicBezTo>
                    <a:cubicBezTo>
                      <a:pt x="0" y="1250"/>
                      <a:pt x="0" y="1236"/>
                      <a:pt x="9" y="1227"/>
                    </a:cubicBezTo>
                    <a:cubicBezTo>
                      <a:pt x="18" y="1219"/>
                      <a:pt x="31" y="1219"/>
                      <a:pt x="40" y="1228"/>
                    </a:cubicBezTo>
                    <a:cubicBezTo>
                      <a:pt x="100" y="1289"/>
                      <a:pt x="100" y="1289"/>
                      <a:pt x="100" y="1289"/>
                    </a:cubicBezTo>
                    <a:cubicBezTo>
                      <a:pt x="100" y="857"/>
                      <a:pt x="100" y="857"/>
                      <a:pt x="100" y="857"/>
                    </a:cubicBezTo>
                    <a:cubicBezTo>
                      <a:pt x="100" y="851"/>
                      <a:pt x="102" y="846"/>
                      <a:pt x="106" y="842"/>
                    </a:cubicBezTo>
                    <a:cubicBezTo>
                      <a:pt x="496" y="452"/>
                      <a:pt x="496" y="452"/>
                      <a:pt x="496" y="452"/>
                    </a:cubicBezTo>
                    <a:cubicBezTo>
                      <a:pt x="496" y="22"/>
                      <a:pt x="496" y="22"/>
                      <a:pt x="496" y="22"/>
                    </a:cubicBezTo>
                    <a:cubicBezTo>
                      <a:pt x="496" y="10"/>
                      <a:pt x="506" y="0"/>
                      <a:pt x="518" y="0"/>
                    </a:cubicBezTo>
                    <a:cubicBezTo>
                      <a:pt x="531" y="0"/>
                      <a:pt x="540" y="10"/>
                      <a:pt x="540" y="22"/>
                    </a:cubicBezTo>
                    <a:close/>
                    <a:moveTo>
                      <a:pt x="758" y="746"/>
                    </a:moveTo>
                    <a:cubicBezTo>
                      <a:pt x="699" y="804"/>
                      <a:pt x="699" y="804"/>
                      <a:pt x="699" y="804"/>
                    </a:cubicBezTo>
                    <a:cubicBezTo>
                      <a:pt x="699" y="22"/>
                      <a:pt x="699" y="22"/>
                      <a:pt x="699" y="22"/>
                    </a:cubicBezTo>
                    <a:cubicBezTo>
                      <a:pt x="699" y="10"/>
                      <a:pt x="689" y="0"/>
                      <a:pt x="677" y="0"/>
                    </a:cubicBezTo>
                    <a:cubicBezTo>
                      <a:pt x="665" y="0"/>
                      <a:pt x="655" y="10"/>
                      <a:pt x="655" y="22"/>
                    </a:cubicBezTo>
                    <a:cubicBezTo>
                      <a:pt x="655" y="807"/>
                      <a:pt x="655" y="807"/>
                      <a:pt x="655" y="807"/>
                    </a:cubicBezTo>
                    <a:cubicBezTo>
                      <a:pt x="594" y="744"/>
                      <a:pt x="594" y="744"/>
                      <a:pt x="594" y="744"/>
                    </a:cubicBezTo>
                    <a:cubicBezTo>
                      <a:pt x="586" y="735"/>
                      <a:pt x="572" y="735"/>
                      <a:pt x="563" y="744"/>
                    </a:cubicBezTo>
                    <a:cubicBezTo>
                      <a:pt x="554" y="752"/>
                      <a:pt x="554" y="766"/>
                      <a:pt x="562" y="775"/>
                    </a:cubicBezTo>
                    <a:cubicBezTo>
                      <a:pt x="659" y="874"/>
                      <a:pt x="659" y="874"/>
                      <a:pt x="659" y="874"/>
                    </a:cubicBezTo>
                    <a:cubicBezTo>
                      <a:pt x="663" y="878"/>
                      <a:pt x="669" y="880"/>
                      <a:pt x="674" y="880"/>
                    </a:cubicBezTo>
                    <a:cubicBezTo>
                      <a:pt x="675" y="880"/>
                      <a:pt x="675" y="880"/>
                      <a:pt x="675" y="880"/>
                    </a:cubicBezTo>
                    <a:cubicBezTo>
                      <a:pt x="680" y="880"/>
                      <a:pt x="686" y="878"/>
                      <a:pt x="690" y="874"/>
                    </a:cubicBezTo>
                    <a:cubicBezTo>
                      <a:pt x="789" y="778"/>
                      <a:pt x="789" y="778"/>
                      <a:pt x="789" y="778"/>
                    </a:cubicBezTo>
                    <a:cubicBezTo>
                      <a:pt x="798" y="769"/>
                      <a:pt x="798" y="755"/>
                      <a:pt x="790" y="747"/>
                    </a:cubicBezTo>
                    <a:cubicBezTo>
                      <a:pt x="781" y="738"/>
                      <a:pt x="767" y="738"/>
                      <a:pt x="758" y="746"/>
                    </a:cubicBezTo>
                    <a:close/>
                    <a:moveTo>
                      <a:pt x="1111" y="886"/>
                    </a:moveTo>
                    <a:cubicBezTo>
                      <a:pt x="1051" y="945"/>
                      <a:pt x="1051" y="945"/>
                      <a:pt x="1051" y="945"/>
                    </a:cubicBezTo>
                    <a:cubicBezTo>
                      <a:pt x="1051" y="726"/>
                      <a:pt x="1051" y="726"/>
                      <a:pt x="1051" y="726"/>
                    </a:cubicBezTo>
                    <a:cubicBezTo>
                      <a:pt x="1051" y="720"/>
                      <a:pt x="1048" y="715"/>
                      <a:pt x="1044" y="710"/>
                    </a:cubicBezTo>
                    <a:cubicBezTo>
                      <a:pt x="858" y="524"/>
                      <a:pt x="858" y="524"/>
                      <a:pt x="858" y="524"/>
                    </a:cubicBezTo>
                    <a:cubicBezTo>
                      <a:pt x="858" y="22"/>
                      <a:pt x="858" y="22"/>
                      <a:pt x="858" y="22"/>
                    </a:cubicBezTo>
                    <a:cubicBezTo>
                      <a:pt x="858" y="10"/>
                      <a:pt x="848" y="0"/>
                      <a:pt x="836" y="0"/>
                    </a:cubicBezTo>
                    <a:cubicBezTo>
                      <a:pt x="823" y="0"/>
                      <a:pt x="814" y="10"/>
                      <a:pt x="814" y="22"/>
                    </a:cubicBezTo>
                    <a:cubicBezTo>
                      <a:pt x="814" y="533"/>
                      <a:pt x="814" y="533"/>
                      <a:pt x="814" y="533"/>
                    </a:cubicBezTo>
                    <a:cubicBezTo>
                      <a:pt x="814" y="539"/>
                      <a:pt x="816" y="545"/>
                      <a:pt x="820" y="549"/>
                    </a:cubicBezTo>
                    <a:cubicBezTo>
                      <a:pt x="1007" y="735"/>
                      <a:pt x="1007" y="735"/>
                      <a:pt x="1007" y="735"/>
                    </a:cubicBezTo>
                    <a:cubicBezTo>
                      <a:pt x="1007" y="946"/>
                      <a:pt x="1007" y="946"/>
                      <a:pt x="1007" y="946"/>
                    </a:cubicBezTo>
                    <a:cubicBezTo>
                      <a:pt x="947" y="884"/>
                      <a:pt x="947" y="884"/>
                      <a:pt x="947" y="884"/>
                    </a:cubicBezTo>
                    <a:cubicBezTo>
                      <a:pt x="938" y="875"/>
                      <a:pt x="924" y="875"/>
                      <a:pt x="916" y="884"/>
                    </a:cubicBezTo>
                    <a:cubicBezTo>
                      <a:pt x="907" y="892"/>
                      <a:pt x="907" y="906"/>
                      <a:pt x="915" y="915"/>
                    </a:cubicBezTo>
                    <a:cubicBezTo>
                      <a:pt x="1012" y="1014"/>
                      <a:pt x="1012" y="1014"/>
                      <a:pt x="1012" y="1014"/>
                    </a:cubicBezTo>
                    <a:cubicBezTo>
                      <a:pt x="1016" y="1018"/>
                      <a:pt x="1021" y="1020"/>
                      <a:pt x="1027" y="1021"/>
                    </a:cubicBezTo>
                    <a:cubicBezTo>
                      <a:pt x="1027" y="1021"/>
                      <a:pt x="1027" y="1021"/>
                      <a:pt x="1027" y="1021"/>
                    </a:cubicBezTo>
                    <a:cubicBezTo>
                      <a:pt x="1033" y="1021"/>
                      <a:pt x="1039" y="1018"/>
                      <a:pt x="1043" y="1014"/>
                    </a:cubicBezTo>
                    <a:cubicBezTo>
                      <a:pt x="1142" y="918"/>
                      <a:pt x="1142" y="918"/>
                      <a:pt x="1142" y="918"/>
                    </a:cubicBezTo>
                    <a:cubicBezTo>
                      <a:pt x="1151" y="909"/>
                      <a:pt x="1151" y="895"/>
                      <a:pt x="1142" y="887"/>
                    </a:cubicBezTo>
                    <a:cubicBezTo>
                      <a:pt x="1134" y="878"/>
                      <a:pt x="1120" y="878"/>
                      <a:pt x="1111" y="886"/>
                    </a:cubicBezTo>
                    <a:close/>
                    <a:moveTo>
                      <a:pt x="1383" y="1304"/>
                    </a:moveTo>
                    <a:cubicBezTo>
                      <a:pt x="1374" y="1295"/>
                      <a:pt x="1360" y="1295"/>
                      <a:pt x="1351" y="1304"/>
                    </a:cubicBezTo>
                    <a:cubicBezTo>
                      <a:pt x="1291" y="1362"/>
                      <a:pt x="1291" y="1362"/>
                      <a:pt x="1291" y="1362"/>
                    </a:cubicBezTo>
                    <a:cubicBezTo>
                      <a:pt x="1291" y="634"/>
                      <a:pt x="1291" y="634"/>
                      <a:pt x="1291" y="634"/>
                    </a:cubicBezTo>
                    <a:cubicBezTo>
                      <a:pt x="1291" y="628"/>
                      <a:pt x="1289" y="623"/>
                      <a:pt x="1285" y="618"/>
                    </a:cubicBezTo>
                    <a:cubicBezTo>
                      <a:pt x="1016" y="348"/>
                      <a:pt x="1016" y="348"/>
                      <a:pt x="1016" y="348"/>
                    </a:cubicBezTo>
                    <a:cubicBezTo>
                      <a:pt x="1016" y="22"/>
                      <a:pt x="1016" y="22"/>
                      <a:pt x="1016" y="22"/>
                    </a:cubicBezTo>
                    <a:cubicBezTo>
                      <a:pt x="1016" y="10"/>
                      <a:pt x="1006" y="0"/>
                      <a:pt x="994" y="0"/>
                    </a:cubicBezTo>
                    <a:cubicBezTo>
                      <a:pt x="982" y="0"/>
                      <a:pt x="972" y="10"/>
                      <a:pt x="972" y="22"/>
                    </a:cubicBezTo>
                    <a:cubicBezTo>
                      <a:pt x="972" y="357"/>
                      <a:pt x="972" y="357"/>
                      <a:pt x="972" y="357"/>
                    </a:cubicBezTo>
                    <a:cubicBezTo>
                      <a:pt x="972" y="363"/>
                      <a:pt x="975" y="368"/>
                      <a:pt x="979" y="373"/>
                    </a:cubicBezTo>
                    <a:cubicBezTo>
                      <a:pt x="1247" y="643"/>
                      <a:pt x="1247" y="643"/>
                      <a:pt x="1247" y="643"/>
                    </a:cubicBezTo>
                    <a:cubicBezTo>
                      <a:pt x="1247" y="1363"/>
                      <a:pt x="1247" y="1363"/>
                      <a:pt x="1247" y="1363"/>
                    </a:cubicBezTo>
                    <a:cubicBezTo>
                      <a:pt x="1187" y="1301"/>
                      <a:pt x="1187" y="1301"/>
                      <a:pt x="1187" y="1301"/>
                    </a:cubicBezTo>
                    <a:cubicBezTo>
                      <a:pt x="1179" y="1293"/>
                      <a:pt x="1165" y="1293"/>
                      <a:pt x="1156" y="1301"/>
                    </a:cubicBezTo>
                    <a:cubicBezTo>
                      <a:pt x="1147" y="1310"/>
                      <a:pt x="1147" y="1323"/>
                      <a:pt x="1155" y="1332"/>
                    </a:cubicBezTo>
                    <a:cubicBezTo>
                      <a:pt x="1252" y="1431"/>
                      <a:pt x="1252" y="1431"/>
                      <a:pt x="1252" y="1431"/>
                    </a:cubicBezTo>
                    <a:cubicBezTo>
                      <a:pt x="1256" y="1436"/>
                      <a:pt x="1262" y="1438"/>
                      <a:pt x="1268" y="1438"/>
                    </a:cubicBezTo>
                    <a:cubicBezTo>
                      <a:pt x="1268" y="1438"/>
                      <a:pt x="1268" y="1438"/>
                      <a:pt x="1268" y="1438"/>
                    </a:cubicBezTo>
                    <a:cubicBezTo>
                      <a:pt x="1268" y="1438"/>
                      <a:pt x="1269" y="1438"/>
                      <a:pt x="1269" y="1438"/>
                    </a:cubicBezTo>
                    <a:cubicBezTo>
                      <a:pt x="1277" y="1438"/>
                      <a:pt x="1284" y="1433"/>
                      <a:pt x="1288" y="1427"/>
                    </a:cubicBezTo>
                    <a:cubicBezTo>
                      <a:pt x="1382" y="1335"/>
                      <a:pt x="1382" y="1335"/>
                      <a:pt x="1382" y="1335"/>
                    </a:cubicBezTo>
                    <a:cubicBezTo>
                      <a:pt x="1391" y="1327"/>
                      <a:pt x="1391" y="1313"/>
                      <a:pt x="1383" y="1304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57" name="Freeform 17">
                <a:extLst>
                  <a:ext uri="{FF2B5EF4-FFF2-40B4-BE49-F238E27FC236}">
                    <a16:creationId xmlns:a16="http://schemas.microsoft.com/office/drawing/2014/main" xmlns="" id="{6B8AE4E4-9646-49AB-AFD2-4CB528364E9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17" y="2081"/>
                <a:ext cx="3125" cy="1986"/>
              </a:xfrm>
              <a:custGeom>
                <a:avLst/>
                <a:gdLst>
                  <a:gd name="T0" fmla="*/ 554 w 1668"/>
                  <a:gd name="T1" fmla="*/ 259 h 1059"/>
                  <a:gd name="T2" fmla="*/ 1072 w 1668"/>
                  <a:gd name="T3" fmla="*/ 259 h 1059"/>
                  <a:gd name="T4" fmla="*/ 956 w 1668"/>
                  <a:gd name="T5" fmla="*/ 273 h 1059"/>
                  <a:gd name="T6" fmla="*/ 927 w 1668"/>
                  <a:gd name="T7" fmla="*/ 331 h 1059"/>
                  <a:gd name="T8" fmla="*/ 917 w 1668"/>
                  <a:gd name="T9" fmla="*/ 367 h 1059"/>
                  <a:gd name="T10" fmla="*/ 856 w 1668"/>
                  <a:gd name="T11" fmla="*/ 423 h 1059"/>
                  <a:gd name="T12" fmla="*/ 848 w 1668"/>
                  <a:gd name="T13" fmla="*/ 431 h 1059"/>
                  <a:gd name="T14" fmla="*/ 724 w 1668"/>
                  <a:gd name="T15" fmla="*/ 403 h 1059"/>
                  <a:gd name="T16" fmla="*/ 679 w 1668"/>
                  <a:gd name="T17" fmla="*/ 168 h 1059"/>
                  <a:gd name="T18" fmla="*/ 940 w 1668"/>
                  <a:gd name="T19" fmla="*/ 107 h 1059"/>
                  <a:gd name="T20" fmla="*/ 918 w 1668"/>
                  <a:gd name="T21" fmla="*/ 152 h 1059"/>
                  <a:gd name="T22" fmla="*/ 919 w 1668"/>
                  <a:gd name="T23" fmla="*/ 186 h 1059"/>
                  <a:gd name="T24" fmla="*/ 927 w 1668"/>
                  <a:gd name="T25" fmla="*/ 218 h 1059"/>
                  <a:gd name="T26" fmla="*/ 942 w 1668"/>
                  <a:gd name="T27" fmla="*/ 246 h 1059"/>
                  <a:gd name="T28" fmla="*/ 1409 w 1668"/>
                  <a:gd name="T29" fmla="*/ 542 h 1059"/>
                  <a:gd name="T30" fmla="*/ 1409 w 1668"/>
                  <a:gd name="T31" fmla="*/ 1059 h 1059"/>
                  <a:gd name="T32" fmla="*/ 1409 w 1668"/>
                  <a:gd name="T33" fmla="*/ 542 h 1059"/>
                  <a:gd name="T34" fmla="*/ 1498 w 1668"/>
                  <a:gd name="T35" fmla="*/ 944 h 1059"/>
                  <a:gd name="T36" fmla="*/ 1374 w 1668"/>
                  <a:gd name="T37" fmla="*/ 972 h 1059"/>
                  <a:gd name="T38" fmla="*/ 1366 w 1668"/>
                  <a:gd name="T39" fmla="*/ 965 h 1059"/>
                  <a:gd name="T40" fmla="*/ 1305 w 1668"/>
                  <a:gd name="T41" fmla="*/ 909 h 1059"/>
                  <a:gd name="T42" fmla="*/ 1295 w 1668"/>
                  <a:gd name="T43" fmla="*/ 873 h 1059"/>
                  <a:gd name="T44" fmla="*/ 1266 w 1668"/>
                  <a:gd name="T45" fmla="*/ 815 h 1059"/>
                  <a:gd name="T46" fmla="*/ 1282 w 1668"/>
                  <a:gd name="T47" fmla="*/ 785 h 1059"/>
                  <a:gd name="T48" fmla="*/ 1298 w 1668"/>
                  <a:gd name="T49" fmla="*/ 747 h 1059"/>
                  <a:gd name="T50" fmla="*/ 1307 w 1668"/>
                  <a:gd name="T51" fmla="*/ 692 h 1059"/>
                  <a:gd name="T52" fmla="*/ 1303 w 1668"/>
                  <a:gd name="T53" fmla="*/ 692 h 1059"/>
                  <a:gd name="T54" fmla="*/ 1417 w 1668"/>
                  <a:gd name="T55" fmla="*/ 629 h 1059"/>
                  <a:gd name="T56" fmla="*/ 1498 w 1668"/>
                  <a:gd name="T57" fmla="*/ 868 h 1059"/>
                  <a:gd name="T58" fmla="*/ 0 w 1668"/>
                  <a:gd name="T59" fmla="*/ 721 h 1059"/>
                  <a:gd name="T60" fmla="*/ 518 w 1668"/>
                  <a:gd name="T61" fmla="*/ 721 h 1059"/>
                  <a:gd name="T62" fmla="*/ 406 w 1668"/>
                  <a:gd name="T63" fmla="*/ 737 h 1059"/>
                  <a:gd name="T64" fmla="*/ 376 w 1668"/>
                  <a:gd name="T65" fmla="*/ 775 h 1059"/>
                  <a:gd name="T66" fmla="*/ 327 w 1668"/>
                  <a:gd name="T67" fmla="*/ 826 h 1059"/>
                  <a:gd name="T68" fmla="*/ 304 w 1668"/>
                  <a:gd name="T69" fmla="*/ 882 h 1059"/>
                  <a:gd name="T70" fmla="*/ 289 w 1668"/>
                  <a:gd name="T71" fmla="*/ 890 h 1059"/>
                  <a:gd name="T72" fmla="*/ 202 w 1668"/>
                  <a:gd name="T73" fmla="*/ 863 h 1059"/>
                  <a:gd name="T74" fmla="*/ 132 w 1668"/>
                  <a:gd name="T75" fmla="*/ 627 h 1059"/>
                  <a:gd name="T76" fmla="*/ 371 w 1668"/>
                  <a:gd name="T77" fmla="*/ 606 h 1059"/>
                  <a:gd name="T78" fmla="*/ 377 w 1668"/>
                  <a:gd name="T79" fmla="*/ 654 h 1059"/>
                  <a:gd name="T80" fmla="*/ 394 w 1668"/>
                  <a:gd name="T81" fmla="*/ 709 h 105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668" h="1059">
                    <a:moveTo>
                      <a:pt x="813" y="0"/>
                    </a:moveTo>
                    <a:cubicBezTo>
                      <a:pt x="670" y="0"/>
                      <a:pt x="554" y="116"/>
                      <a:pt x="554" y="259"/>
                    </a:cubicBezTo>
                    <a:cubicBezTo>
                      <a:pt x="554" y="402"/>
                      <a:pt x="670" y="518"/>
                      <a:pt x="813" y="518"/>
                    </a:cubicBezTo>
                    <a:cubicBezTo>
                      <a:pt x="956" y="518"/>
                      <a:pt x="1072" y="402"/>
                      <a:pt x="1072" y="259"/>
                    </a:cubicBezTo>
                    <a:cubicBezTo>
                      <a:pt x="1072" y="116"/>
                      <a:pt x="956" y="0"/>
                      <a:pt x="813" y="0"/>
                    </a:cubicBezTo>
                    <a:close/>
                    <a:moveTo>
                      <a:pt x="956" y="273"/>
                    </a:moveTo>
                    <a:cubicBezTo>
                      <a:pt x="955" y="277"/>
                      <a:pt x="949" y="290"/>
                      <a:pt x="925" y="290"/>
                    </a:cubicBezTo>
                    <a:cubicBezTo>
                      <a:pt x="927" y="301"/>
                      <a:pt x="928" y="319"/>
                      <a:pt x="927" y="331"/>
                    </a:cubicBezTo>
                    <a:cubicBezTo>
                      <a:pt x="927" y="334"/>
                      <a:pt x="927" y="334"/>
                      <a:pt x="927" y="334"/>
                    </a:cubicBezTo>
                    <a:cubicBezTo>
                      <a:pt x="926" y="353"/>
                      <a:pt x="925" y="363"/>
                      <a:pt x="917" y="367"/>
                    </a:cubicBezTo>
                    <a:cubicBezTo>
                      <a:pt x="910" y="371"/>
                      <a:pt x="887" y="374"/>
                      <a:pt x="856" y="371"/>
                    </a:cubicBezTo>
                    <a:cubicBezTo>
                      <a:pt x="856" y="423"/>
                      <a:pt x="856" y="423"/>
                      <a:pt x="856" y="423"/>
                    </a:cubicBezTo>
                    <a:cubicBezTo>
                      <a:pt x="856" y="427"/>
                      <a:pt x="853" y="431"/>
                      <a:pt x="848" y="431"/>
                    </a:cubicBezTo>
                    <a:cubicBezTo>
                      <a:pt x="848" y="431"/>
                      <a:pt x="848" y="431"/>
                      <a:pt x="848" y="431"/>
                    </a:cubicBezTo>
                    <a:cubicBezTo>
                      <a:pt x="843" y="431"/>
                      <a:pt x="779" y="430"/>
                      <a:pt x="729" y="410"/>
                    </a:cubicBezTo>
                    <a:cubicBezTo>
                      <a:pt x="726" y="409"/>
                      <a:pt x="724" y="406"/>
                      <a:pt x="724" y="403"/>
                    </a:cubicBezTo>
                    <a:cubicBezTo>
                      <a:pt x="724" y="327"/>
                      <a:pt x="724" y="327"/>
                      <a:pt x="724" y="327"/>
                    </a:cubicBezTo>
                    <a:cubicBezTo>
                      <a:pt x="699" y="300"/>
                      <a:pt x="648" y="234"/>
                      <a:pt x="679" y="168"/>
                    </a:cubicBezTo>
                    <a:cubicBezTo>
                      <a:pt x="697" y="131"/>
                      <a:pt x="733" y="87"/>
                      <a:pt x="805" y="87"/>
                    </a:cubicBezTo>
                    <a:cubicBezTo>
                      <a:pt x="887" y="87"/>
                      <a:pt x="863" y="108"/>
                      <a:pt x="940" y="107"/>
                    </a:cubicBezTo>
                    <a:cubicBezTo>
                      <a:pt x="948" y="107"/>
                      <a:pt x="923" y="134"/>
                      <a:pt x="919" y="151"/>
                    </a:cubicBezTo>
                    <a:cubicBezTo>
                      <a:pt x="919" y="151"/>
                      <a:pt x="919" y="152"/>
                      <a:pt x="918" y="152"/>
                    </a:cubicBezTo>
                    <a:cubicBezTo>
                      <a:pt x="918" y="152"/>
                      <a:pt x="916" y="151"/>
                      <a:pt x="914" y="151"/>
                    </a:cubicBezTo>
                    <a:cubicBezTo>
                      <a:pt x="915" y="161"/>
                      <a:pt x="917" y="180"/>
                      <a:pt x="919" y="186"/>
                    </a:cubicBezTo>
                    <a:cubicBezTo>
                      <a:pt x="921" y="192"/>
                      <a:pt x="922" y="199"/>
                      <a:pt x="924" y="205"/>
                    </a:cubicBezTo>
                    <a:cubicBezTo>
                      <a:pt x="925" y="210"/>
                      <a:pt x="926" y="215"/>
                      <a:pt x="927" y="218"/>
                    </a:cubicBezTo>
                    <a:cubicBezTo>
                      <a:pt x="931" y="230"/>
                      <a:pt x="935" y="239"/>
                      <a:pt x="939" y="243"/>
                    </a:cubicBezTo>
                    <a:cubicBezTo>
                      <a:pt x="940" y="244"/>
                      <a:pt x="941" y="245"/>
                      <a:pt x="942" y="246"/>
                    </a:cubicBezTo>
                    <a:cubicBezTo>
                      <a:pt x="951" y="256"/>
                      <a:pt x="959" y="265"/>
                      <a:pt x="956" y="273"/>
                    </a:cubicBezTo>
                    <a:close/>
                    <a:moveTo>
                      <a:pt x="1409" y="542"/>
                    </a:moveTo>
                    <a:cubicBezTo>
                      <a:pt x="1266" y="542"/>
                      <a:pt x="1150" y="658"/>
                      <a:pt x="1150" y="800"/>
                    </a:cubicBezTo>
                    <a:cubicBezTo>
                      <a:pt x="1150" y="943"/>
                      <a:pt x="1266" y="1059"/>
                      <a:pt x="1409" y="1059"/>
                    </a:cubicBezTo>
                    <a:cubicBezTo>
                      <a:pt x="1552" y="1059"/>
                      <a:pt x="1668" y="943"/>
                      <a:pt x="1668" y="800"/>
                    </a:cubicBezTo>
                    <a:cubicBezTo>
                      <a:pt x="1668" y="658"/>
                      <a:pt x="1552" y="542"/>
                      <a:pt x="1409" y="542"/>
                    </a:cubicBezTo>
                    <a:close/>
                    <a:moveTo>
                      <a:pt x="1498" y="868"/>
                    </a:moveTo>
                    <a:cubicBezTo>
                      <a:pt x="1498" y="944"/>
                      <a:pt x="1498" y="944"/>
                      <a:pt x="1498" y="944"/>
                    </a:cubicBezTo>
                    <a:cubicBezTo>
                      <a:pt x="1498" y="947"/>
                      <a:pt x="1496" y="950"/>
                      <a:pt x="1493" y="951"/>
                    </a:cubicBezTo>
                    <a:cubicBezTo>
                      <a:pt x="1443" y="972"/>
                      <a:pt x="1379" y="972"/>
                      <a:pt x="1374" y="972"/>
                    </a:cubicBezTo>
                    <a:cubicBezTo>
                      <a:pt x="1373" y="972"/>
                      <a:pt x="1373" y="972"/>
                      <a:pt x="1373" y="972"/>
                    </a:cubicBezTo>
                    <a:cubicBezTo>
                      <a:pt x="1369" y="972"/>
                      <a:pt x="1366" y="969"/>
                      <a:pt x="1366" y="965"/>
                    </a:cubicBezTo>
                    <a:cubicBezTo>
                      <a:pt x="1366" y="912"/>
                      <a:pt x="1366" y="912"/>
                      <a:pt x="1366" y="912"/>
                    </a:cubicBezTo>
                    <a:cubicBezTo>
                      <a:pt x="1335" y="916"/>
                      <a:pt x="1311" y="912"/>
                      <a:pt x="1305" y="909"/>
                    </a:cubicBezTo>
                    <a:cubicBezTo>
                      <a:pt x="1297" y="905"/>
                      <a:pt x="1296" y="894"/>
                      <a:pt x="1295" y="875"/>
                    </a:cubicBezTo>
                    <a:cubicBezTo>
                      <a:pt x="1295" y="873"/>
                      <a:pt x="1295" y="873"/>
                      <a:pt x="1295" y="873"/>
                    </a:cubicBezTo>
                    <a:cubicBezTo>
                      <a:pt x="1294" y="861"/>
                      <a:pt x="1295" y="842"/>
                      <a:pt x="1296" y="832"/>
                    </a:cubicBezTo>
                    <a:cubicBezTo>
                      <a:pt x="1273" y="831"/>
                      <a:pt x="1267" y="819"/>
                      <a:pt x="1266" y="815"/>
                    </a:cubicBezTo>
                    <a:cubicBezTo>
                      <a:pt x="1263" y="806"/>
                      <a:pt x="1271" y="797"/>
                      <a:pt x="1280" y="788"/>
                    </a:cubicBezTo>
                    <a:cubicBezTo>
                      <a:pt x="1281" y="787"/>
                      <a:pt x="1282" y="786"/>
                      <a:pt x="1282" y="785"/>
                    </a:cubicBezTo>
                    <a:cubicBezTo>
                      <a:pt x="1286" y="780"/>
                      <a:pt x="1291" y="771"/>
                      <a:pt x="1295" y="760"/>
                    </a:cubicBezTo>
                    <a:cubicBezTo>
                      <a:pt x="1296" y="757"/>
                      <a:pt x="1297" y="752"/>
                      <a:pt x="1298" y="747"/>
                    </a:cubicBezTo>
                    <a:cubicBezTo>
                      <a:pt x="1300" y="740"/>
                      <a:pt x="1301" y="733"/>
                      <a:pt x="1303" y="728"/>
                    </a:cubicBezTo>
                    <a:cubicBezTo>
                      <a:pt x="1305" y="721"/>
                      <a:pt x="1307" y="702"/>
                      <a:pt x="1307" y="692"/>
                    </a:cubicBezTo>
                    <a:cubicBezTo>
                      <a:pt x="1306" y="692"/>
                      <a:pt x="1304" y="693"/>
                      <a:pt x="1303" y="693"/>
                    </a:cubicBezTo>
                    <a:cubicBezTo>
                      <a:pt x="1303" y="693"/>
                      <a:pt x="1303" y="693"/>
                      <a:pt x="1303" y="692"/>
                    </a:cubicBezTo>
                    <a:cubicBezTo>
                      <a:pt x="1299" y="675"/>
                      <a:pt x="1274" y="648"/>
                      <a:pt x="1282" y="648"/>
                    </a:cubicBezTo>
                    <a:cubicBezTo>
                      <a:pt x="1358" y="650"/>
                      <a:pt x="1334" y="629"/>
                      <a:pt x="1417" y="629"/>
                    </a:cubicBezTo>
                    <a:cubicBezTo>
                      <a:pt x="1489" y="629"/>
                      <a:pt x="1525" y="672"/>
                      <a:pt x="1543" y="709"/>
                    </a:cubicBezTo>
                    <a:cubicBezTo>
                      <a:pt x="1574" y="776"/>
                      <a:pt x="1523" y="842"/>
                      <a:pt x="1498" y="868"/>
                    </a:cubicBezTo>
                    <a:close/>
                    <a:moveTo>
                      <a:pt x="259" y="462"/>
                    </a:moveTo>
                    <a:cubicBezTo>
                      <a:pt x="116" y="462"/>
                      <a:pt x="0" y="578"/>
                      <a:pt x="0" y="721"/>
                    </a:cubicBezTo>
                    <a:cubicBezTo>
                      <a:pt x="0" y="864"/>
                      <a:pt x="116" y="980"/>
                      <a:pt x="259" y="980"/>
                    </a:cubicBezTo>
                    <a:cubicBezTo>
                      <a:pt x="402" y="980"/>
                      <a:pt x="518" y="864"/>
                      <a:pt x="518" y="721"/>
                    </a:cubicBezTo>
                    <a:cubicBezTo>
                      <a:pt x="518" y="578"/>
                      <a:pt x="402" y="462"/>
                      <a:pt x="259" y="462"/>
                    </a:cubicBezTo>
                    <a:close/>
                    <a:moveTo>
                      <a:pt x="406" y="737"/>
                    </a:moveTo>
                    <a:cubicBezTo>
                      <a:pt x="404" y="743"/>
                      <a:pt x="394" y="752"/>
                      <a:pt x="375" y="752"/>
                    </a:cubicBezTo>
                    <a:cubicBezTo>
                      <a:pt x="376" y="758"/>
                      <a:pt x="376" y="767"/>
                      <a:pt x="376" y="775"/>
                    </a:cubicBezTo>
                    <a:cubicBezTo>
                      <a:pt x="376" y="806"/>
                      <a:pt x="372" y="815"/>
                      <a:pt x="368" y="818"/>
                    </a:cubicBezTo>
                    <a:cubicBezTo>
                      <a:pt x="365" y="822"/>
                      <a:pt x="357" y="827"/>
                      <a:pt x="327" y="826"/>
                    </a:cubicBezTo>
                    <a:cubicBezTo>
                      <a:pt x="322" y="826"/>
                      <a:pt x="312" y="826"/>
                      <a:pt x="304" y="825"/>
                    </a:cubicBezTo>
                    <a:cubicBezTo>
                      <a:pt x="304" y="882"/>
                      <a:pt x="304" y="882"/>
                      <a:pt x="304" y="882"/>
                    </a:cubicBezTo>
                    <a:cubicBezTo>
                      <a:pt x="304" y="886"/>
                      <a:pt x="301" y="889"/>
                      <a:pt x="297" y="889"/>
                    </a:cubicBezTo>
                    <a:cubicBezTo>
                      <a:pt x="297" y="889"/>
                      <a:pt x="294" y="890"/>
                      <a:pt x="289" y="890"/>
                    </a:cubicBezTo>
                    <a:cubicBezTo>
                      <a:pt x="273" y="890"/>
                      <a:pt x="236" y="887"/>
                      <a:pt x="206" y="869"/>
                    </a:cubicBezTo>
                    <a:cubicBezTo>
                      <a:pt x="204" y="868"/>
                      <a:pt x="202" y="866"/>
                      <a:pt x="202" y="863"/>
                    </a:cubicBezTo>
                    <a:cubicBezTo>
                      <a:pt x="200" y="826"/>
                      <a:pt x="200" y="826"/>
                      <a:pt x="200" y="826"/>
                    </a:cubicBezTo>
                    <a:cubicBezTo>
                      <a:pt x="151" y="806"/>
                      <a:pt x="73" y="749"/>
                      <a:pt x="132" y="627"/>
                    </a:cubicBezTo>
                    <a:cubicBezTo>
                      <a:pt x="150" y="591"/>
                      <a:pt x="192" y="553"/>
                      <a:pt x="262" y="553"/>
                    </a:cubicBezTo>
                    <a:cubicBezTo>
                      <a:pt x="342" y="553"/>
                      <a:pt x="375" y="590"/>
                      <a:pt x="371" y="606"/>
                    </a:cubicBezTo>
                    <a:cubicBezTo>
                      <a:pt x="370" y="609"/>
                      <a:pt x="368" y="612"/>
                      <a:pt x="366" y="615"/>
                    </a:cubicBezTo>
                    <a:cubicBezTo>
                      <a:pt x="370" y="620"/>
                      <a:pt x="379" y="633"/>
                      <a:pt x="377" y="654"/>
                    </a:cubicBezTo>
                    <a:cubicBezTo>
                      <a:pt x="377" y="664"/>
                      <a:pt x="378" y="683"/>
                      <a:pt x="379" y="686"/>
                    </a:cubicBezTo>
                    <a:cubicBezTo>
                      <a:pt x="382" y="693"/>
                      <a:pt x="388" y="703"/>
                      <a:pt x="394" y="709"/>
                    </a:cubicBezTo>
                    <a:cubicBezTo>
                      <a:pt x="400" y="715"/>
                      <a:pt x="410" y="729"/>
                      <a:pt x="406" y="737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</p:grpSp>
      </p:grpSp>
      <p:sp>
        <p:nvSpPr>
          <p:cNvPr id="19" name="Oval 20"/>
          <p:cNvSpPr>
            <a:spLocks noChangeArrowheads="1"/>
          </p:cNvSpPr>
          <p:nvPr/>
        </p:nvSpPr>
        <p:spPr bwMode="auto">
          <a:xfrm>
            <a:off x="994491" y="1791382"/>
            <a:ext cx="202406" cy="202469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sz="900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1" name="Rectangle 10"/>
          <p:cNvSpPr/>
          <p:nvPr/>
        </p:nvSpPr>
        <p:spPr>
          <a:xfrm>
            <a:off x="1896054" y="1665886"/>
            <a:ext cx="1926254" cy="453462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r>
              <a:rPr lang="ru-RU" sz="1100" b="1" dirty="0">
                <a:solidFill>
                  <a:srgbClr val="575757"/>
                </a:solidFill>
              </a:rPr>
              <a:t>Стимулирование развития отечественных сервисов и право потребителя на их выбор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4028107" y="1405458"/>
            <a:ext cx="202406" cy="202469"/>
            <a:chOff x="982662" y="1847850"/>
            <a:chExt cx="269875" cy="269875"/>
          </a:xfrm>
        </p:grpSpPr>
        <p:sp>
          <p:nvSpPr>
            <p:cNvPr id="31" name="Oval 50"/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32" name="Freeform 51"/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</p:grpSp>
      <p:sp>
        <p:nvSpPr>
          <p:cNvPr id="45" name="Rectangle 44"/>
          <p:cNvSpPr/>
          <p:nvPr/>
        </p:nvSpPr>
        <p:spPr>
          <a:xfrm>
            <a:off x="4314823" y="1310875"/>
            <a:ext cx="4476749" cy="32614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r>
              <a:rPr lang="ru-RU" sz="1100" dirty="0">
                <a:solidFill>
                  <a:srgbClr val="575757"/>
                </a:solidFill>
              </a:rPr>
              <a:t>Снятие текущих барьеров (напр., на обработку данных) позволит бизнесу создавать </a:t>
            </a:r>
            <a:r>
              <a:rPr lang="ru-RU" sz="1100" b="1" dirty="0">
                <a:solidFill>
                  <a:srgbClr val="575757"/>
                </a:solidFill>
              </a:rPr>
              <a:t>новые уникальные рынки </a:t>
            </a:r>
            <a:r>
              <a:rPr lang="ru-RU" sz="1100" dirty="0">
                <a:solidFill>
                  <a:srgbClr val="575757"/>
                </a:solidFill>
              </a:rPr>
              <a:t>и повысит его </a:t>
            </a:r>
            <a:r>
              <a:rPr lang="ru-RU" sz="1100" b="1" dirty="0">
                <a:solidFill>
                  <a:srgbClr val="575757"/>
                </a:solidFill>
              </a:rPr>
              <a:t>мировую конкурентоспособность – взаимовыгодное положение</a:t>
            </a:r>
          </a:p>
        </p:txBody>
      </p:sp>
      <p:grpSp>
        <p:nvGrpSpPr>
          <p:cNvPr id="58" name="bcgIcons_NewEntrants">
            <a:extLst>
              <a:ext uri="{FF2B5EF4-FFF2-40B4-BE49-F238E27FC236}">
                <a16:creationId xmlns:a16="http://schemas.microsoft.com/office/drawing/2014/main" xmlns="" id="{B4BF69EF-6398-454D-A391-ED27D38BD67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54404" y="1668657"/>
            <a:ext cx="447366" cy="447919"/>
            <a:chOff x="1682" y="0"/>
            <a:chExt cx="4316" cy="4320"/>
          </a:xfrm>
        </p:grpSpPr>
        <p:sp>
          <p:nvSpPr>
            <p:cNvPr id="59" name="AutoShape 3">
              <a:extLst>
                <a:ext uri="{FF2B5EF4-FFF2-40B4-BE49-F238E27FC236}">
                  <a16:creationId xmlns:a16="http://schemas.microsoft.com/office/drawing/2014/main" xmlns="" id="{348CB6D0-E8F3-403F-9A35-82CD3AD6E07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0" name="Freeform 5">
              <a:extLst>
                <a:ext uri="{FF2B5EF4-FFF2-40B4-BE49-F238E27FC236}">
                  <a16:creationId xmlns:a16="http://schemas.microsoft.com/office/drawing/2014/main" xmlns="" id="{7D4F09FE-6923-4E1A-987B-BF6427B58FE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85" y="2280"/>
              <a:ext cx="2707" cy="1849"/>
            </a:xfrm>
            <a:custGeom>
              <a:avLst/>
              <a:gdLst>
                <a:gd name="T0" fmla="*/ 1359 w 1445"/>
                <a:gd name="T1" fmla="*/ 966 h 986"/>
                <a:gd name="T2" fmla="*/ 1326 w 1445"/>
                <a:gd name="T3" fmla="*/ 981 h 986"/>
                <a:gd name="T4" fmla="*/ 1224 w 1445"/>
                <a:gd name="T5" fmla="*/ 959 h 986"/>
                <a:gd name="T6" fmla="*/ 983 w 1445"/>
                <a:gd name="T7" fmla="*/ 759 h 986"/>
                <a:gd name="T8" fmla="*/ 905 w 1445"/>
                <a:gd name="T9" fmla="*/ 594 h 986"/>
                <a:gd name="T10" fmla="*/ 909 w 1445"/>
                <a:gd name="T11" fmla="*/ 538 h 986"/>
                <a:gd name="T12" fmla="*/ 1013 w 1445"/>
                <a:gd name="T13" fmla="*/ 440 h 986"/>
                <a:gd name="T14" fmla="*/ 1097 w 1445"/>
                <a:gd name="T15" fmla="*/ 571 h 986"/>
                <a:gd name="T16" fmla="*/ 1062 w 1445"/>
                <a:gd name="T17" fmla="*/ 638 h 986"/>
                <a:gd name="T18" fmla="*/ 1070 w 1445"/>
                <a:gd name="T19" fmla="*/ 673 h 986"/>
                <a:gd name="T20" fmla="*/ 1177 w 1445"/>
                <a:gd name="T21" fmla="*/ 793 h 986"/>
                <a:gd name="T22" fmla="*/ 1239 w 1445"/>
                <a:gd name="T23" fmla="*/ 825 h 986"/>
                <a:gd name="T24" fmla="*/ 1279 w 1445"/>
                <a:gd name="T25" fmla="*/ 789 h 986"/>
                <a:gd name="T26" fmla="*/ 1319 w 1445"/>
                <a:gd name="T27" fmla="*/ 783 h 986"/>
                <a:gd name="T28" fmla="*/ 342 w 1445"/>
                <a:gd name="T29" fmla="*/ 385 h 986"/>
                <a:gd name="T30" fmla="*/ 22 w 1445"/>
                <a:gd name="T31" fmla="*/ 981 h 986"/>
                <a:gd name="T32" fmla="*/ 22 w 1445"/>
                <a:gd name="T33" fmla="*/ 363 h 986"/>
                <a:gd name="T34" fmla="*/ 202 w 1445"/>
                <a:gd name="T35" fmla="*/ 906 h 986"/>
                <a:gd name="T36" fmla="*/ 171 w 1445"/>
                <a:gd name="T37" fmla="*/ 937 h 986"/>
                <a:gd name="T38" fmla="*/ 291 w 1445"/>
                <a:gd name="T39" fmla="*/ 407 h 986"/>
                <a:gd name="T40" fmla="*/ 44 w 1445"/>
                <a:gd name="T41" fmla="*/ 820 h 986"/>
                <a:gd name="T42" fmla="*/ 301 w 1445"/>
                <a:gd name="T43" fmla="*/ 820 h 986"/>
                <a:gd name="T44" fmla="*/ 885 w 1445"/>
                <a:gd name="T45" fmla="*/ 983 h 986"/>
                <a:gd name="T46" fmla="*/ 508 w 1445"/>
                <a:gd name="T47" fmla="*/ 860 h 986"/>
                <a:gd name="T48" fmla="*/ 432 w 1445"/>
                <a:gd name="T49" fmla="*/ 954 h 986"/>
                <a:gd name="T50" fmla="*/ 707 w 1445"/>
                <a:gd name="T51" fmla="*/ 335 h 986"/>
                <a:gd name="T52" fmla="*/ 529 w 1445"/>
                <a:gd name="T53" fmla="*/ 795 h 986"/>
                <a:gd name="T54" fmla="*/ 529 w 1445"/>
                <a:gd name="T55" fmla="*/ 795 h 986"/>
                <a:gd name="T56" fmla="*/ 725 w 1445"/>
                <a:gd name="T57" fmla="*/ 536 h 986"/>
                <a:gd name="T58" fmla="*/ 774 w 1445"/>
                <a:gd name="T59" fmla="*/ 688 h 986"/>
                <a:gd name="T60" fmla="*/ 774 w 1445"/>
                <a:gd name="T61" fmla="*/ 688 h 986"/>
                <a:gd name="T62" fmla="*/ 709 w 1445"/>
                <a:gd name="T63" fmla="*/ 678 h 986"/>
                <a:gd name="T64" fmla="*/ 761 w 1445"/>
                <a:gd name="T65" fmla="*/ 816 h 986"/>
                <a:gd name="T66" fmla="*/ 627 w 1445"/>
                <a:gd name="T67" fmla="*/ 492 h 986"/>
                <a:gd name="T68" fmla="*/ 627 w 1445"/>
                <a:gd name="T69" fmla="*/ 492 h 986"/>
                <a:gd name="T70" fmla="*/ 669 w 1445"/>
                <a:gd name="T71" fmla="*/ 107 h 986"/>
                <a:gd name="T72" fmla="*/ 588 w 1445"/>
                <a:gd name="T73" fmla="*/ 346 h 986"/>
                <a:gd name="T74" fmla="*/ 669 w 1445"/>
                <a:gd name="T75" fmla="*/ 151 h 986"/>
                <a:gd name="T76" fmla="*/ 750 w 1445"/>
                <a:gd name="T77" fmla="*/ 346 h 986"/>
                <a:gd name="T78" fmla="*/ 850 w 1445"/>
                <a:gd name="T79" fmla="*/ 437 h 986"/>
                <a:gd name="T80" fmla="*/ 413 w 1445"/>
                <a:gd name="T81" fmla="*/ 256 h 986"/>
                <a:gd name="T82" fmla="*/ 518 w 1445"/>
                <a:gd name="T83" fmla="*/ 404 h 986"/>
                <a:gd name="T84" fmla="*/ 881 w 1445"/>
                <a:gd name="T85" fmla="*/ 256 h 986"/>
                <a:gd name="T86" fmla="*/ 834 w 1445"/>
                <a:gd name="T87" fmla="*/ 443 h 9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445" h="986">
                  <a:moveTo>
                    <a:pt x="1444" y="867"/>
                  </a:moveTo>
                  <a:cubicBezTo>
                    <a:pt x="1445" y="876"/>
                    <a:pt x="1442" y="883"/>
                    <a:pt x="1436" y="890"/>
                  </a:cubicBezTo>
                  <a:cubicBezTo>
                    <a:pt x="1359" y="966"/>
                    <a:pt x="1359" y="966"/>
                    <a:pt x="1359" y="966"/>
                  </a:cubicBezTo>
                  <a:cubicBezTo>
                    <a:pt x="1356" y="969"/>
                    <a:pt x="1351" y="973"/>
                    <a:pt x="1346" y="975"/>
                  </a:cubicBezTo>
                  <a:cubicBezTo>
                    <a:pt x="1340" y="978"/>
                    <a:pt x="1335" y="980"/>
                    <a:pt x="1330" y="980"/>
                  </a:cubicBezTo>
                  <a:cubicBezTo>
                    <a:pt x="1329" y="980"/>
                    <a:pt x="1328" y="980"/>
                    <a:pt x="1326" y="981"/>
                  </a:cubicBezTo>
                  <a:cubicBezTo>
                    <a:pt x="1324" y="981"/>
                    <a:pt x="1322" y="981"/>
                    <a:pt x="1319" y="981"/>
                  </a:cubicBezTo>
                  <a:cubicBezTo>
                    <a:pt x="1311" y="981"/>
                    <a:pt x="1300" y="980"/>
                    <a:pt x="1284" y="977"/>
                  </a:cubicBezTo>
                  <a:cubicBezTo>
                    <a:pt x="1267" y="975"/>
                    <a:pt x="1247" y="969"/>
                    <a:pt x="1224" y="959"/>
                  </a:cubicBezTo>
                  <a:cubicBezTo>
                    <a:pt x="1200" y="949"/>
                    <a:pt x="1174" y="935"/>
                    <a:pt x="1144" y="915"/>
                  </a:cubicBezTo>
                  <a:cubicBezTo>
                    <a:pt x="1114" y="896"/>
                    <a:pt x="1083" y="869"/>
                    <a:pt x="1049" y="835"/>
                  </a:cubicBezTo>
                  <a:cubicBezTo>
                    <a:pt x="1022" y="809"/>
                    <a:pt x="1000" y="783"/>
                    <a:pt x="983" y="759"/>
                  </a:cubicBezTo>
                  <a:cubicBezTo>
                    <a:pt x="965" y="735"/>
                    <a:pt x="951" y="713"/>
                    <a:pt x="940" y="693"/>
                  </a:cubicBezTo>
                  <a:cubicBezTo>
                    <a:pt x="929" y="672"/>
                    <a:pt x="921" y="654"/>
                    <a:pt x="916" y="637"/>
                  </a:cubicBezTo>
                  <a:cubicBezTo>
                    <a:pt x="911" y="620"/>
                    <a:pt x="907" y="606"/>
                    <a:pt x="905" y="594"/>
                  </a:cubicBezTo>
                  <a:cubicBezTo>
                    <a:pt x="903" y="582"/>
                    <a:pt x="903" y="573"/>
                    <a:pt x="903" y="566"/>
                  </a:cubicBezTo>
                  <a:cubicBezTo>
                    <a:pt x="903" y="559"/>
                    <a:pt x="904" y="555"/>
                    <a:pt x="904" y="554"/>
                  </a:cubicBezTo>
                  <a:cubicBezTo>
                    <a:pt x="904" y="549"/>
                    <a:pt x="906" y="544"/>
                    <a:pt x="909" y="538"/>
                  </a:cubicBezTo>
                  <a:cubicBezTo>
                    <a:pt x="911" y="532"/>
                    <a:pt x="915" y="528"/>
                    <a:pt x="918" y="525"/>
                  </a:cubicBezTo>
                  <a:cubicBezTo>
                    <a:pt x="995" y="448"/>
                    <a:pt x="995" y="448"/>
                    <a:pt x="995" y="448"/>
                  </a:cubicBezTo>
                  <a:cubicBezTo>
                    <a:pt x="1000" y="443"/>
                    <a:pt x="1006" y="440"/>
                    <a:pt x="1013" y="440"/>
                  </a:cubicBezTo>
                  <a:cubicBezTo>
                    <a:pt x="1018" y="440"/>
                    <a:pt x="1022" y="442"/>
                    <a:pt x="1026" y="445"/>
                  </a:cubicBezTo>
                  <a:cubicBezTo>
                    <a:pt x="1030" y="447"/>
                    <a:pt x="1033" y="451"/>
                    <a:pt x="1036" y="455"/>
                  </a:cubicBezTo>
                  <a:cubicBezTo>
                    <a:pt x="1097" y="571"/>
                    <a:pt x="1097" y="571"/>
                    <a:pt x="1097" y="571"/>
                  </a:cubicBezTo>
                  <a:cubicBezTo>
                    <a:pt x="1101" y="578"/>
                    <a:pt x="1101" y="584"/>
                    <a:pt x="1100" y="592"/>
                  </a:cubicBezTo>
                  <a:cubicBezTo>
                    <a:pt x="1098" y="599"/>
                    <a:pt x="1095" y="605"/>
                    <a:pt x="1090" y="610"/>
                  </a:cubicBezTo>
                  <a:cubicBezTo>
                    <a:pt x="1062" y="638"/>
                    <a:pt x="1062" y="638"/>
                    <a:pt x="1062" y="638"/>
                  </a:cubicBezTo>
                  <a:cubicBezTo>
                    <a:pt x="1061" y="639"/>
                    <a:pt x="1061" y="640"/>
                    <a:pt x="1060" y="642"/>
                  </a:cubicBezTo>
                  <a:cubicBezTo>
                    <a:pt x="1060" y="643"/>
                    <a:pt x="1059" y="645"/>
                    <a:pt x="1059" y="646"/>
                  </a:cubicBezTo>
                  <a:cubicBezTo>
                    <a:pt x="1061" y="654"/>
                    <a:pt x="1064" y="663"/>
                    <a:pt x="1070" y="673"/>
                  </a:cubicBezTo>
                  <a:cubicBezTo>
                    <a:pt x="1074" y="683"/>
                    <a:pt x="1081" y="694"/>
                    <a:pt x="1091" y="707"/>
                  </a:cubicBezTo>
                  <a:cubicBezTo>
                    <a:pt x="1100" y="720"/>
                    <a:pt x="1114" y="735"/>
                    <a:pt x="1131" y="752"/>
                  </a:cubicBezTo>
                  <a:cubicBezTo>
                    <a:pt x="1149" y="770"/>
                    <a:pt x="1164" y="784"/>
                    <a:pt x="1177" y="793"/>
                  </a:cubicBezTo>
                  <a:cubicBezTo>
                    <a:pt x="1191" y="803"/>
                    <a:pt x="1202" y="810"/>
                    <a:pt x="1211" y="815"/>
                  </a:cubicBezTo>
                  <a:cubicBezTo>
                    <a:pt x="1220" y="819"/>
                    <a:pt x="1227" y="822"/>
                    <a:pt x="1231" y="823"/>
                  </a:cubicBezTo>
                  <a:cubicBezTo>
                    <a:pt x="1239" y="825"/>
                    <a:pt x="1239" y="825"/>
                    <a:pt x="1239" y="825"/>
                  </a:cubicBezTo>
                  <a:cubicBezTo>
                    <a:pt x="1239" y="825"/>
                    <a:pt x="1241" y="824"/>
                    <a:pt x="1242" y="824"/>
                  </a:cubicBezTo>
                  <a:cubicBezTo>
                    <a:pt x="1244" y="823"/>
                    <a:pt x="1245" y="823"/>
                    <a:pt x="1246" y="822"/>
                  </a:cubicBezTo>
                  <a:cubicBezTo>
                    <a:pt x="1279" y="789"/>
                    <a:pt x="1279" y="789"/>
                    <a:pt x="1279" y="789"/>
                  </a:cubicBezTo>
                  <a:cubicBezTo>
                    <a:pt x="1286" y="782"/>
                    <a:pt x="1294" y="779"/>
                    <a:pt x="1303" y="779"/>
                  </a:cubicBezTo>
                  <a:cubicBezTo>
                    <a:pt x="1309" y="779"/>
                    <a:pt x="1314" y="781"/>
                    <a:pt x="1318" y="783"/>
                  </a:cubicBezTo>
                  <a:cubicBezTo>
                    <a:pt x="1319" y="783"/>
                    <a:pt x="1319" y="783"/>
                    <a:pt x="1319" y="783"/>
                  </a:cubicBezTo>
                  <a:cubicBezTo>
                    <a:pt x="1429" y="848"/>
                    <a:pt x="1429" y="848"/>
                    <a:pt x="1429" y="848"/>
                  </a:cubicBezTo>
                  <a:cubicBezTo>
                    <a:pt x="1437" y="853"/>
                    <a:pt x="1442" y="859"/>
                    <a:pt x="1444" y="867"/>
                  </a:cubicBezTo>
                  <a:close/>
                  <a:moveTo>
                    <a:pt x="342" y="385"/>
                  </a:moveTo>
                  <a:cubicBezTo>
                    <a:pt x="342" y="959"/>
                    <a:pt x="342" y="959"/>
                    <a:pt x="342" y="959"/>
                  </a:cubicBezTo>
                  <a:cubicBezTo>
                    <a:pt x="342" y="971"/>
                    <a:pt x="332" y="981"/>
                    <a:pt x="320" y="981"/>
                  </a:cubicBezTo>
                  <a:cubicBezTo>
                    <a:pt x="22" y="981"/>
                    <a:pt x="22" y="981"/>
                    <a:pt x="22" y="981"/>
                  </a:cubicBezTo>
                  <a:cubicBezTo>
                    <a:pt x="10" y="981"/>
                    <a:pt x="0" y="971"/>
                    <a:pt x="0" y="959"/>
                  </a:cubicBezTo>
                  <a:cubicBezTo>
                    <a:pt x="0" y="385"/>
                    <a:pt x="0" y="385"/>
                    <a:pt x="0" y="385"/>
                  </a:cubicBezTo>
                  <a:cubicBezTo>
                    <a:pt x="0" y="373"/>
                    <a:pt x="10" y="363"/>
                    <a:pt x="22" y="363"/>
                  </a:cubicBezTo>
                  <a:cubicBezTo>
                    <a:pt x="320" y="363"/>
                    <a:pt x="320" y="363"/>
                    <a:pt x="320" y="363"/>
                  </a:cubicBezTo>
                  <a:cubicBezTo>
                    <a:pt x="332" y="363"/>
                    <a:pt x="342" y="373"/>
                    <a:pt x="342" y="385"/>
                  </a:cubicBezTo>
                  <a:close/>
                  <a:moveTo>
                    <a:pt x="202" y="906"/>
                  </a:moveTo>
                  <a:cubicBezTo>
                    <a:pt x="202" y="888"/>
                    <a:pt x="188" y="874"/>
                    <a:pt x="171" y="874"/>
                  </a:cubicBezTo>
                  <a:cubicBezTo>
                    <a:pt x="153" y="874"/>
                    <a:pt x="139" y="888"/>
                    <a:pt x="139" y="906"/>
                  </a:cubicBezTo>
                  <a:cubicBezTo>
                    <a:pt x="139" y="923"/>
                    <a:pt x="153" y="937"/>
                    <a:pt x="171" y="937"/>
                  </a:cubicBezTo>
                  <a:cubicBezTo>
                    <a:pt x="188" y="937"/>
                    <a:pt x="202" y="923"/>
                    <a:pt x="202" y="906"/>
                  </a:cubicBezTo>
                  <a:close/>
                  <a:moveTo>
                    <a:pt x="301" y="417"/>
                  </a:moveTo>
                  <a:cubicBezTo>
                    <a:pt x="301" y="411"/>
                    <a:pt x="297" y="407"/>
                    <a:pt x="291" y="407"/>
                  </a:cubicBezTo>
                  <a:cubicBezTo>
                    <a:pt x="54" y="407"/>
                    <a:pt x="54" y="407"/>
                    <a:pt x="54" y="407"/>
                  </a:cubicBezTo>
                  <a:cubicBezTo>
                    <a:pt x="48" y="407"/>
                    <a:pt x="44" y="411"/>
                    <a:pt x="44" y="417"/>
                  </a:cubicBezTo>
                  <a:cubicBezTo>
                    <a:pt x="44" y="820"/>
                    <a:pt x="44" y="820"/>
                    <a:pt x="44" y="820"/>
                  </a:cubicBezTo>
                  <a:cubicBezTo>
                    <a:pt x="44" y="825"/>
                    <a:pt x="48" y="830"/>
                    <a:pt x="54" y="830"/>
                  </a:cubicBezTo>
                  <a:cubicBezTo>
                    <a:pt x="291" y="830"/>
                    <a:pt x="291" y="830"/>
                    <a:pt x="291" y="830"/>
                  </a:cubicBezTo>
                  <a:cubicBezTo>
                    <a:pt x="297" y="830"/>
                    <a:pt x="301" y="825"/>
                    <a:pt x="301" y="820"/>
                  </a:cubicBezTo>
                  <a:lnTo>
                    <a:pt x="301" y="417"/>
                  </a:lnTo>
                  <a:close/>
                  <a:moveTo>
                    <a:pt x="892" y="982"/>
                  </a:moveTo>
                  <a:cubicBezTo>
                    <a:pt x="890" y="983"/>
                    <a:pt x="887" y="983"/>
                    <a:pt x="885" y="983"/>
                  </a:cubicBezTo>
                  <a:cubicBezTo>
                    <a:pt x="876" y="983"/>
                    <a:pt x="867" y="977"/>
                    <a:pt x="864" y="968"/>
                  </a:cubicBezTo>
                  <a:cubicBezTo>
                    <a:pt x="830" y="860"/>
                    <a:pt x="830" y="860"/>
                    <a:pt x="830" y="860"/>
                  </a:cubicBezTo>
                  <a:cubicBezTo>
                    <a:pt x="508" y="860"/>
                    <a:pt x="508" y="860"/>
                    <a:pt x="508" y="860"/>
                  </a:cubicBezTo>
                  <a:cubicBezTo>
                    <a:pt x="474" y="968"/>
                    <a:pt x="474" y="968"/>
                    <a:pt x="474" y="968"/>
                  </a:cubicBezTo>
                  <a:cubicBezTo>
                    <a:pt x="470" y="979"/>
                    <a:pt x="458" y="986"/>
                    <a:pt x="446" y="982"/>
                  </a:cubicBezTo>
                  <a:cubicBezTo>
                    <a:pt x="434" y="978"/>
                    <a:pt x="428" y="966"/>
                    <a:pt x="432" y="954"/>
                  </a:cubicBezTo>
                  <a:cubicBezTo>
                    <a:pt x="631" y="335"/>
                    <a:pt x="631" y="335"/>
                    <a:pt x="631" y="335"/>
                  </a:cubicBezTo>
                  <a:cubicBezTo>
                    <a:pt x="643" y="340"/>
                    <a:pt x="656" y="343"/>
                    <a:pt x="669" y="343"/>
                  </a:cubicBezTo>
                  <a:cubicBezTo>
                    <a:pt x="682" y="343"/>
                    <a:pt x="695" y="340"/>
                    <a:pt x="707" y="335"/>
                  </a:cubicBezTo>
                  <a:cubicBezTo>
                    <a:pt x="906" y="954"/>
                    <a:pt x="906" y="954"/>
                    <a:pt x="906" y="954"/>
                  </a:cubicBezTo>
                  <a:cubicBezTo>
                    <a:pt x="910" y="966"/>
                    <a:pt x="904" y="978"/>
                    <a:pt x="892" y="982"/>
                  </a:cubicBezTo>
                  <a:close/>
                  <a:moveTo>
                    <a:pt x="529" y="795"/>
                  </a:moveTo>
                  <a:cubicBezTo>
                    <a:pt x="629" y="730"/>
                    <a:pt x="629" y="730"/>
                    <a:pt x="629" y="730"/>
                  </a:cubicBezTo>
                  <a:cubicBezTo>
                    <a:pt x="564" y="688"/>
                    <a:pt x="564" y="688"/>
                    <a:pt x="564" y="688"/>
                  </a:cubicBezTo>
                  <a:lnTo>
                    <a:pt x="529" y="795"/>
                  </a:lnTo>
                  <a:close/>
                  <a:moveTo>
                    <a:pt x="581" y="634"/>
                  </a:moveTo>
                  <a:cubicBezTo>
                    <a:pt x="757" y="634"/>
                    <a:pt x="757" y="634"/>
                    <a:pt x="757" y="634"/>
                  </a:cubicBezTo>
                  <a:cubicBezTo>
                    <a:pt x="725" y="536"/>
                    <a:pt x="725" y="536"/>
                    <a:pt x="725" y="536"/>
                  </a:cubicBezTo>
                  <a:cubicBezTo>
                    <a:pt x="613" y="536"/>
                    <a:pt x="613" y="536"/>
                    <a:pt x="613" y="536"/>
                  </a:cubicBezTo>
                  <a:lnTo>
                    <a:pt x="581" y="634"/>
                  </a:lnTo>
                  <a:close/>
                  <a:moveTo>
                    <a:pt x="774" y="688"/>
                  </a:moveTo>
                  <a:cubicBezTo>
                    <a:pt x="709" y="730"/>
                    <a:pt x="709" y="730"/>
                    <a:pt x="709" y="730"/>
                  </a:cubicBezTo>
                  <a:cubicBezTo>
                    <a:pt x="809" y="795"/>
                    <a:pt x="809" y="795"/>
                    <a:pt x="809" y="795"/>
                  </a:cubicBezTo>
                  <a:lnTo>
                    <a:pt x="774" y="688"/>
                  </a:lnTo>
                  <a:close/>
                  <a:moveTo>
                    <a:pt x="629" y="678"/>
                  </a:moveTo>
                  <a:cubicBezTo>
                    <a:pt x="669" y="704"/>
                    <a:pt x="669" y="704"/>
                    <a:pt x="669" y="704"/>
                  </a:cubicBezTo>
                  <a:cubicBezTo>
                    <a:pt x="709" y="678"/>
                    <a:pt x="709" y="678"/>
                    <a:pt x="709" y="678"/>
                  </a:cubicBezTo>
                  <a:lnTo>
                    <a:pt x="629" y="678"/>
                  </a:lnTo>
                  <a:close/>
                  <a:moveTo>
                    <a:pt x="577" y="816"/>
                  </a:moveTo>
                  <a:cubicBezTo>
                    <a:pt x="761" y="816"/>
                    <a:pt x="761" y="816"/>
                    <a:pt x="761" y="816"/>
                  </a:cubicBezTo>
                  <a:cubicBezTo>
                    <a:pt x="669" y="756"/>
                    <a:pt x="669" y="756"/>
                    <a:pt x="669" y="756"/>
                  </a:cubicBezTo>
                  <a:lnTo>
                    <a:pt x="577" y="816"/>
                  </a:lnTo>
                  <a:close/>
                  <a:moveTo>
                    <a:pt x="627" y="492"/>
                  </a:moveTo>
                  <a:cubicBezTo>
                    <a:pt x="711" y="492"/>
                    <a:pt x="711" y="492"/>
                    <a:pt x="711" y="492"/>
                  </a:cubicBezTo>
                  <a:cubicBezTo>
                    <a:pt x="669" y="362"/>
                    <a:pt x="669" y="362"/>
                    <a:pt x="669" y="362"/>
                  </a:cubicBezTo>
                  <a:lnTo>
                    <a:pt x="627" y="492"/>
                  </a:lnTo>
                  <a:close/>
                  <a:moveTo>
                    <a:pt x="781" y="343"/>
                  </a:moveTo>
                  <a:cubicBezTo>
                    <a:pt x="802" y="318"/>
                    <a:pt x="814" y="285"/>
                    <a:pt x="814" y="251"/>
                  </a:cubicBezTo>
                  <a:cubicBezTo>
                    <a:pt x="814" y="172"/>
                    <a:pt x="749" y="107"/>
                    <a:pt x="669" y="107"/>
                  </a:cubicBezTo>
                  <a:cubicBezTo>
                    <a:pt x="589" y="107"/>
                    <a:pt x="524" y="172"/>
                    <a:pt x="524" y="251"/>
                  </a:cubicBezTo>
                  <a:cubicBezTo>
                    <a:pt x="524" y="285"/>
                    <a:pt x="536" y="318"/>
                    <a:pt x="557" y="343"/>
                  </a:cubicBezTo>
                  <a:cubicBezTo>
                    <a:pt x="565" y="353"/>
                    <a:pt x="578" y="354"/>
                    <a:pt x="588" y="346"/>
                  </a:cubicBezTo>
                  <a:cubicBezTo>
                    <a:pt x="597" y="339"/>
                    <a:pt x="599" y="325"/>
                    <a:pt x="591" y="315"/>
                  </a:cubicBezTo>
                  <a:cubicBezTo>
                    <a:pt x="576" y="297"/>
                    <a:pt x="568" y="275"/>
                    <a:pt x="568" y="251"/>
                  </a:cubicBezTo>
                  <a:cubicBezTo>
                    <a:pt x="568" y="196"/>
                    <a:pt x="613" y="151"/>
                    <a:pt x="669" y="151"/>
                  </a:cubicBezTo>
                  <a:cubicBezTo>
                    <a:pt x="725" y="151"/>
                    <a:pt x="770" y="196"/>
                    <a:pt x="770" y="251"/>
                  </a:cubicBezTo>
                  <a:cubicBezTo>
                    <a:pt x="770" y="275"/>
                    <a:pt x="762" y="297"/>
                    <a:pt x="747" y="315"/>
                  </a:cubicBezTo>
                  <a:cubicBezTo>
                    <a:pt x="739" y="325"/>
                    <a:pt x="741" y="339"/>
                    <a:pt x="750" y="346"/>
                  </a:cubicBezTo>
                  <a:cubicBezTo>
                    <a:pt x="754" y="350"/>
                    <a:pt x="759" y="351"/>
                    <a:pt x="764" y="351"/>
                  </a:cubicBezTo>
                  <a:cubicBezTo>
                    <a:pt x="770" y="351"/>
                    <a:pt x="777" y="349"/>
                    <a:pt x="781" y="343"/>
                  </a:cubicBezTo>
                  <a:close/>
                  <a:moveTo>
                    <a:pt x="850" y="437"/>
                  </a:moveTo>
                  <a:cubicBezTo>
                    <a:pt x="898" y="389"/>
                    <a:pt x="925" y="324"/>
                    <a:pt x="925" y="256"/>
                  </a:cubicBezTo>
                  <a:cubicBezTo>
                    <a:pt x="925" y="115"/>
                    <a:pt x="810" y="0"/>
                    <a:pt x="669" y="0"/>
                  </a:cubicBezTo>
                  <a:cubicBezTo>
                    <a:pt x="528" y="0"/>
                    <a:pt x="413" y="115"/>
                    <a:pt x="413" y="256"/>
                  </a:cubicBezTo>
                  <a:cubicBezTo>
                    <a:pt x="413" y="323"/>
                    <a:pt x="439" y="387"/>
                    <a:pt x="487" y="435"/>
                  </a:cubicBezTo>
                  <a:cubicBezTo>
                    <a:pt x="495" y="444"/>
                    <a:pt x="509" y="444"/>
                    <a:pt x="518" y="436"/>
                  </a:cubicBezTo>
                  <a:cubicBezTo>
                    <a:pt x="526" y="427"/>
                    <a:pt x="526" y="413"/>
                    <a:pt x="518" y="404"/>
                  </a:cubicBezTo>
                  <a:cubicBezTo>
                    <a:pt x="479" y="365"/>
                    <a:pt x="457" y="312"/>
                    <a:pt x="457" y="256"/>
                  </a:cubicBezTo>
                  <a:cubicBezTo>
                    <a:pt x="457" y="139"/>
                    <a:pt x="552" y="44"/>
                    <a:pt x="669" y="44"/>
                  </a:cubicBezTo>
                  <a:cubicBezTo>
                    <a:pt x="786" y="44"/>
                    <a:pt x="881" y="139"/>
                    <a:pt x="881" y="256"/>
                  </a:cubicBezTo>
                  <a:cubicBezTo>
                    <a:pt x="881" y="313"/>
                    <a:pt x="859" y="366"/>
                    <a:pt x="819" y="406"/>
                  </a:cubicBezTo>
                  <a:cubicBezTo>
                    <a:pt x="810" y="414"/>
                    <a:pt x="810" y="428"/>
                    <a:pt x="819" y="437"/>
                  </a:cubicBezTo>
                  <a:cubicBezTo>
                    <a:pt x="823" y="441"/>
                    <a:pt x="829" y="443"/>
                    <a:pt x="834" y="443"/>
                  </a:cubicBezTo>
                  <a:cubicBezTo>
                    <a:pt x="840" y="443"/>
                    <a:pt x="846" y="441"/>
                    <a:pt x="850" y="43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1" name="Freeform 6">
              <a:extLst>
                <a:ext uri="{FF2B5EF4-FFF2-40B4-BE49-F238E27FC236}">
                  <a16:creationId xmlns:a16="http://schemas.microsoft.com/office/drawing/2014/main" xmlns="" id="{96D84A7F-53D0-4938-B165-D9B6A0FD8EB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58" y="294"/>
              <a:ext cx="2519" cy="3085"/>
            </a:xfrm>
            <a:custGeom>
              <a:avLst/>
              <a:gdLst>
                <a:gd name="T0" fmla="*/ 681 w 1345"/>
                <a:gd name="T1" fmla="*/ 1307 h 1645"/>
                <a:gd name="T2" fmla="*/ 579 w 1345"/>
                <a:gd name="T3" fmla="*/ 1307 h 1645"/>
                <a:gd name="T4" fmla="*/ 472 w 1345"/>
                <a:gd name="T5" fmla="*/ 0 h 1645"/>
                <a:gd name="T6" fmla="*/ 450 w 1345"/>
                <a:gd name="T7" fmla="*/ 400 h 1645"/>
                <a:gd name="T8" fmla="*/ 100 w 1345"/>
                <a:gd name="T9" fmla="*/ 759 h 1645"/>
                <a:gd name="T10" fmla="*/ 40 w 1345"/>
                <a:gd name="T11" fmla="*/ 1083 h 1645"/>
                <a:gd name="T12" fmla="*/ 9 w 1345"/>
                <a:gd name="T13" fmla="*/ 1113 h 1645"/>
                <a:gd name="T14" fmla="*/ 121 w 1345"/>
                <a:gd name="T15" fmla="*/ 1219 h 1645"/>
                <a:gd name="T16" fmla="*/ 136 w 1345"/>
                <a:gd name="T17" fmla="*/ 1213 h 1645"/>
                <a:gd name="T18" fmla="*/ 236 w 1345"/>
                <a:gd name="T19" fmla="*/ 1085 h 1645"/>
                <a:gd name="T20" fmla="*/ 144 w 1345"/>
                <a:gd name="T21" fmla="*/ 1144 h 1645"/>
                <a:gd name="T22" fmla="*/ 488 w 1345"/>
                <a:gd name="T23" fmla="*/ 425 h 1645"/>
                <a:gd name="T24" fmla="*/ 494 w 1345"/>
                <a:gd name="T25" fmla="*/ 22 h 1645"/>
                <a:gd name="T26" fmla="*/ 712 w 1345"/>
                <a:gd name="T27" fmla="*/ 746 h 1645"/>
                <a:gd name="T28" fmla="*/ 653 w 1345"/>
                <a:gd name="T29" fmla="*/ 22 h 1645"/>
                <a:gd name="T30" fmla="*/ 609 w 1345"/>
                <a:gd name="T31" fmla="*/ 22 h 1645"/>
                <a:gd name="T32" fmla="*/ 548 w 1345"/>
                <a:gd name="T33" fmla="*/ 744 h 1645"/>
                <a:gd name="T34" fmla="*/ 516 w 1345"/>
                <a:gd name="T35" fmla="*/ 775 h 1645"/>
                <a:gd name="T36" fmla="*/ 629 w 1345"/>
                <a:gd name="T37" fmla="*/ 880 h 1645"/>
                <a:gd name="T38" fmla="*/ 743 w 1345"/>
                <a:gd name="T39" fmla="*/ 778 h 1645"/>
                <a:gd name="T40" fmla="*/ 712 w 1345"/>
                <a:gd name="T41" fmla="*/ 746 h 1645"/>
                <a:gd name="T42" fmla="*/ 1005 w 1345"/>
                <a:gd name="T43" fmla="*/ 945 h 1645"/>
                <a:gd name="T44" fmla="*/ 998 w 1345"/>
                <a:gd name="T45" fmla="*/ 710 h 1645"/>
                <a:gd name="T46" fmla="*/ 812 w 1345"/>
                <a:gd name="T47" fmla="*/ 22 h 1645"/>
                <a:gd name="T48" fmla="*/ 768 w 1345"/>
                <a:gd name="T49" fmla="*/ 22 h 1645"/>
                <a:gd name="T50" fmla="*/ 774 w 1345"/>
                <a:gd name="T51" fmla="*/ 549 h 1645"/>
                <a:gd name="T52" fmla="*/ 961 w 1345"/>
                <a:gd name="T53" fmla="*/ 946 h 1645"/>
                <a:gd name="T54" fmla="*/ 870 w 1345"/>
                <a:gd name="T55" fmla="*/ 884 h 1645"/>
                <a:gd name="T56" fmla="*/ 966 w 1345"/>
                <a:gd name="T57" fmla="*/ 1014 h 1645"/>
                <a:gd name="T58" fmla="*/ 981 w 1345"/>
                <a:gd name="T59" fmla="*/ 1021 h 1645"/>
                <a:gd name="T60" fmla="*/ 1096 w 1345"/>
                <a:gd name="T61" fmla="*/ 918 h 1645"/>
                <a:gd name="T62" fmla="*/ 1065 w 1345"/>
                <a:gd name="T63" fmla="*/ 886 h 1645"/>
                <a:gd name="T64" fmla="*/ 1305 w 1345"/>
                <a:gd name="T65" fmla="*/ 1510 h 1645"/>
                <a:gd name="T66" fmla="*/ 1245 w 1345"/>
                <a:gd name="T67" fmla="*/ 514 h 1645"/>
                <a:gd name="T68" fmla="*/ 970 w 1345"/>
                <a:gd name="T69" fmla="*/ 228 h 1645"/>
                <a:gd name="T70" fmla="*/ 948 w 1345"/>
                <a:gd name="T71" fmla="*/ 0 h 1645"/>
                <a:gd name="T72" fmla="*/ 926 w 1345"/>
                <a:gd name="T73" fmla="*/ 237 h 1645"/>
                <a:gd name="T74" fmla="*/ 1201 w 1345"/>
                <a:gd name="T75" fmla="*/ 523 h 1645"/>
                <a:gd name="T76" fmla="*/ 1141 w 1345"/>
                <a:gd name="T77" fmla="*/ 1508 h 1645"/>
                <a:gd name="T78" fmla="*/ 1109 w 1345"/>
                <a:gd name="T79" fmla="*/ 1539 h 1645"/>
                <a:gd name="T80" fmla="*/ 1222 w 1345"/>
                <a:gd name="T81" fmla="*/ 1645 h 1645"/>
                <a:gd name="T82" fmla="*/ 1336 w 1345"/>
                <a:gd name="T83" fmla="*/ 1542 h 16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345" h="1645">
                  <a:moveTo>
                    <a:pt x="630" y="1256"/>
                  </a:moveTo>
                  <a:cubicBezTo>
                    <a:pt x="658" y="1256"/>
                    <a:pt x="681" y="1279"/>
                    <a:pt x="681" y="1307"/>
                  </a:cubicBezTo>
                  <a:cubicBezTo>
                    <a:pt x="681" y="1335"/>
                    <a:pt x="658" y="1358"/>
                    <a:pt x="630" y="1358"/>
                  </a:cubicBezTo>
                  <a:cubicBezTo>
                    <a:pt x="602" y="1358"/>
                    <a:pt x="579" y="1335"/>
                    <a:pt x="579" y="1307"/>
                  </a:cubicBezTo>
                  <a:cubicBezTo>
                    <a:pt x="579" y="1279"/>
                    <a:pt x="602" y="1256"/>
                    <a:pt x="630" y="1256"/>
                  </a:cubicBezTo>
                  <a:moveTo>
                    <a:pt x="472" y="0"/>
                  </a:moveTo>
                  <a:cubicBezTo>
                    <a:pt x="460" y="0"/>
                    <a:pt x="450" y="10"/>
                    <a:pt x="450" y="22"/>
                  </a:cubicBezTo>
                  <a:cubicBezTo>
                    <a:pt x="450" y="400"/>
                    <a:pt x="450" y="400"/>
                    <a:pt x="450" y="400"/>
                  </a:cubicBezTo>
                  <a:cubicBezTo>
                    <a:pt x="107" y="744"/>
                    <a:pt x="107" y="744"/>
                    <a:pt x="107" y="744"/>
                  </a:cubicBezTo>
                  <a:cubicBezTo>
                    <a:pt x="103" y="748"/>
                    <a:pt x="100" y="754"/>
                    <a:pt x="100" y="759"/>
                  </a:cubicBezTo>
                  <a:cubicBezTo>
                    <a:pt x="100" y="1144"/>
                    <a:pt x="100" y="1144"/>
                    <a:pt x="100" y="1144"/>
                  </a:cubicBezTo>
                  <a:cubicBezTo>
                    <a:pt x="40" y="1083"/>
                    <a:pt x="40" y="1083"/>
                    <a:pt x="40" y="1083"/>
                  </a:cubicBezTo>
                  <a:cubicBezTo>
                    <a:pt x="32" y="1074"/>
                    <a:pt x="18" y="1074"/>
                    <a:pt x="9" y="1082"/>
                  </a:cubicBezTo>
                  <a:cubicBezTo>
                    <a:pt x="1" y="1091"/>
                    <a:pt x="0" y="1105"/>
                    <a:pt x="9" y="1113"/>
                  </a:cubicBezTo>
                  <a:cubicBezTo>
                    <a:pt x="105" y="1212"/>
                    <a:pt x="105" y="1212"/>
                    <a:pt x="105" y="1212"/>
                  </a:cubicBezTo>
                  <a:cubicBezTo>
                    <a:pt x="109" y="1217"/>
                    <a:pt x="115" y="1219"/>
                    <a:pt x="121" y="1219"/>
                  </a:cubicBezTo>
                  <a:cubicBezTo>
                    <a:pt x="121" y="1219"/>
                    <a:pt x="121" y="1219"/>
                    <a:pt x="121" y="1219"/>
                  </a:cubicBezTo>
                  <a:cubicBezTo>
                    <a:pt x="127" y="1219"/>
                    <a:pt x="132" y="1217"/>
                    <a:pt x="136" y="1213"/>
                  </a:cubicBezTo>
                  <a:cubicBezTo>
                    <a:pt x="235" y="1116"/>
                    <a:pt x="235" y="1116"/>
                    <a:pt x="235" y="1116"/>
                  </a:cubicBezTo>
                  <a:cubicBezTo>
                    <a:pt x="244" y="1108"/>
                    <a:pt x="244" y="1094"/>
                    <a:pt x="236" y="1085"/>
                  </a:cubicBezTo>
                  <a:cubicBezTo>
                    <a:pt x="227" y="1076"/>
                    <a:pt x="213" y="1076"/>
                    <a:pt x="205" y="1085"/>
                  </a:cubicBezTo>
                  <a:cubicBezTo>
                    <a:pt x="144" y="1144"/>
                    <a:pt x="144" y="1144"/>
                    <a:pt x="144" y="1144"/>
                  </a:cubicBezTo>
                  <a:cubicBezTo>
                    <a:pt x="144" y="768"/>
                    <a:pt x="144" y="768"/>
                    <a:pt x="144" y="768"/>
                  </a:cubicBezTo>
                  <a:cubicBezTo>
                    <a:pt x="488" y="425"/>
                    <a:pt x="488" y="425"/>
                    <a:pt x="488" y="425"/>
                  </a:cubicBezTo>
                  <a:cubicBezTo>
                    <a:pt x="492" y="421"/>
                    <a:pt x="494" y="415"/>
                    <a:pt x="494" y="409"/>
                  </a:cubicBezTo>
                  <a:cubicBezTo>
                    <a:pt x="494" y="22"/>
                    <a:pt x="494" y="22"/>
                    <a:pt x="494" y="22"/>
                  </a:cubicBezTo>
                  <a:cubicBezTo>
                    <a:pt x="494" y="10"/>
                    <a:pt x="485" y="0"/>
                    <a:pt x="472" y="0"/>
                  </a:cubicBezTo>
                  <a:close/>
                  <a:moveTo>
                    <a:pt x="712" y="746"/>
                  </a:moveTo>
                  <a:cubicBezTo>
                    <a:pt x="653" y="804"/>
                    <a:pt x="653" y="804"/>
                    <a:pt x="653" y="804"/>
                  </a:cubicBezTo>
                  <a:cubicBezTo>
                    <a:pt x="653" y="22"/>
                    <a:pt x="653" y="22"/>
                    <a:pt x="653" y="22"/>
                  </a:cubicBezTo>
                  <a:cubicBezTo>
                    <a:pt x="653" y="10"/>
                    <a:pt x="643" y="0"/>
                    <a:pt x="631" y="0"/>
                  </a:cubicBezTo>
                  <a:cubicBezTo>
                    <a:pt x="619" y="0"/>
                    <a:pt x="609" y="10"/>
                    <a:pt x="609" y="22"/>
                  </a:cubicBezTo>
                  <a:cubicBezTo>
                    <a:pt x="609" y="807"/>
                    <a:pt x="609" y="807"/>
                    <a:pt x="609" y="807"/>
                  </a:cubicBezTo>
                  <a:cubicBezTo>
                    <a:pt x="548" y="744"/>
                    <a:pt x="548" y="744"/>
                    <a:pt x="548" y="744"/>
                  </a:cubicBezTo>
                  <a:cubicBezTo>
                    <a:pt x="540" y="735"/>
                    <a:pt x="526" y="735"/>
                    <a:pt x="517" y="744"/>
                  </a:cubicBezTo>
                  <a:cubicBezTo>
                    <a:pt x="508" y="752"/>
                    <a:pt x="508" y="766"/>
                    <a:pt x="516" y="775"/>
                  </a:cubicBezTo>
                  <a:cubicBezTo>
                    <a:pt x="613" y="874"/>
                    <a:pt x="613" y="874"/>
                    <a:pt x="613" y="874"/>
                  </a:cubicBezTo>
                  <a:cubicBezTo>
                    <a:pt x="617" y="878"/>
                    <a:pt x="623" y="880"/>
                    <a:pt x="629" y="880"/>
                  </a:cubicBezTo>
                  <a:cubicBezTo>
                    <a:pt x="634" y="880"/>
                    <a:pt x="640" y="878"/>
                    <a:pt x="644" y="874"/>
                  </a:cubicBezTo>
                  <a:cubicBezTo>
                    <a:pt x="743" y="778"/>
                    <a:pt x="743" y="778"/>
                    <a:pt x="743" y="778"/>
                  </a:cubicBezTo>
                  <a:cubicBezTo>
                    <a:pt x="752" y="769"/>
                    <a:pt x="752" y="755"/>
                    <a:pt x="744" y="747"/>
                  </a:cubicBezTo>
                  <a:cubicBezTo>
                    <a:pt x="735" y="738"/>
                    <a:pt x="721" y="738"/>
                    <a:pt x="712" y="746"/>
                  </a:cubicBezTo>
                  <a:close/>
                  <a:moveTo>
                    <a:pt x="1065" y="886"/>
                  </a:moveTo>
                  <a:cubicBezTo>
                    <a:pt x="1005" y="945"/>
                    <a:pt x="1005" y="945"/>
                    <a:pt x="1005" y="945"/>
                  </a:cubicBezTo>
                  <a:cubicBezTo>
                    <a:pt x="1005" y="726"/>
                    <a:pt x="1005" y="726"/>
                    <a:pt x="1005" y="726"/>
                  </a:cubicBezTo>
                  <a:cubicBezTo>
                    <a:pt x="1005" y="720"/>
                    <a:pt x="1002" y="715"/>
                    <a:pt x="998" y="710"/>
                  </a:cubicBezTo>
                  <a:cubicBezTo>
                    <a:pt x="812" y="524"/>
                    <a:pt x="812" y="524"/>
                    <a:pt x="812" y="524"/>
                  </a:cubicBezTo>
                  <a:cubicBezTo>
                    <a:pt x="812" y="22"/>
                    <a:pt x="812" y="22"/>
                    <a:pt x="812" y="22"/>
                  </a:cubicBezTo>
                  <a:cubicBezTo>
                    <a:pt x="812" y="10"/>
                    <a:pt x="802" y="0"/>
                    <a:pt x="790" y="0"/>
                  </a:cubicBezTo>
                  <a:cubicBezTo>
                    <a:pt x="777" y="0"/>
                    <a:pt x="768" y="10"/>
                    <a:pt x="768" y="22"/>
                  </a:cubicBezTo>
                  <a:cubicBezTo>
                    <a:pt x="768" y="533"/>
                    <a:pt x="768" y="533"/>
                    <a:pt x="768" y="533"/>
                  </a:cubicBezTo>
                  <a:cubicBezTo>
                    <a:pt x="768" y="539"/>
                    <a:pt x="770" y="545"/>
                    <a:pt x="774" y="549"/>
                  </a:cubicBezTo>
                  <a:cubicBezTo>
                    <a:pt x="961" y="735"/>
                    <a:pt x="961" y="735"/>
                    <a:pt x="961" y="735"/>
                  </a:cubicBezTo>
                  <a:cubicBezTo>
                    <a:pt x="961" y="946"/>
                    <a:pt x="961" y="946"/>
                    <a:pt x="961" y="946"/>
                  </a:cubicBezTo>
                  <a:cubicBezTo>
                    <a:pt x="901" y="884"/>
                    <a:pt x="901" y="884"/>
                    <a:pt x="901" y="884"/>
                  </a:cubicBezTo>
                  <a:cubicBezTo>
                    <a:pt x="892" y="875"/>
                    <a:pt x="878" y="875"/>
                    <a:pt x="870" y="884"/>
                  </a:cubicBezTo>
                  <a:cubicBezTo>
                    <a:pt x="861" y="892"/>
                    <a:pt x="861" y="906"/>
                    <a:pt x="869" y="915"/>
                  </a:cubicBezTo>
                  <a:cubicBezTo>
                    <a:pt x="966" y="1014"/>
                    <a:pt x="966" y="1014"/>
                    <a:pt x="966" y="1014"/>
                  </a:cubicBezTo>
                  <a:cubicBezTo>
                    <a:pt x="970" y="1018"/>
                    <a:pt x="975" y="1020"/>
                    <a:pt x="981" y="1021"/>
                  </a:cubicBezTo>
                  <a:cubicBezTo>
                    <a:pt x="981" y="1021"/>
                    <a:pt x="981" y="1021"/>
                    <a:pt x="981" y="1021"/>
                  </a:cubicBezTo>
                  <a:cubicBezTo>
                    <a:pt x="987" y="1021"/>
                    <a:pt x="993" y="1018"/>
                    <a:pt x="997" y="1014"/>
                  </a:cubicBezTo>
                  <a:cubicBezTo>
                    <a:pt x="1096" y="918"/>
                    <a:pt x="1096" y="918"/>
                    <a:pt x="1096" y="918"/>
                  </a:cubicBezTo>
                  <a:cubicBezTo>
                    <a:pt x="1105" y="909"/>
                    <a:pt x="1105" y="895"/>
                    <a:pt x="1096" y="887"/>
                  </a:cubicBezTo>
                  <a:cubicBezTo>
                    <a:pt x="1088" y="878"/>
                    <a:pt x="1074" y="878"/>
                    <a:pt x="1065" y="886"/>
                  </a:cubicBezTo>
                  <a:close/>
                  <a:moveTo>
                    <a:pt x="1337" y="1511"/>
                  </a:moveTo>
                  <a:cubicBezTo>
                    <a:pt x="1328" y="1502"/>
                    <a:pt x="1314" y="1502"/>
                    <a:pt x="1305" y="1510"/>
                  </a:cubicBezTo>
                  <a:cubicBezTo>
                    <a:pt x="1245" y="1569"/>
                    <a:pt x="1245" y="1569"/>
                    <a:pt x="1245" y="1569"/>
                  </a:cubicBezTo>
                  <a:cubicBezTo>
                    <a:pt x="1245" y="514"/>
                    <a:pt x="1245" y="514"/>
                    <a:pt x="1245" y="514"/>
                  </a:cubicBezTo>
                  <a:cubicBezTo>
                    <a:pt x="1245" y="508"/>
                    <a:pt x="1243" y="502"/>
                    <a:pt x="1239" y="498"/>
                  </a:cubicBezTo>
                  <a:cubicBezTo>
                    <a:pt x="970" y="228"/>
                    <a:pt x="970" y="228"/>
                    <a:pt x="970" y="228"/>
                  </a:cubicBezTo>
                  <a:cubicBezTo>
                    <a:pt x="970" y="22"/>
                    <a:pt x="970" y="22"/>
                    <a:pt x="970" y="22"/>
                  </a:cubicBezTo>
                  <a:cubicBezTo>
                    <a:pt x="970" y="10"/>
                    <a:pt x="960" y="0"/>
                    <a:pt x="948" y="0"/>
                  </a:cubicBezTo>
                  <a:cubicBezTo>
                    <a:pt x="936" y="0"/>
                    <a:pt x="926" y="10"/>
                    <a:pt x="926" y="22"/>
                  </a:cubicBezTo>
                  <a:cubicBezTo>
                    <a:pt x="926" y="237"/>
                    <a:pt x="926" y="237"/>
                    <a:pt x="926" y="237"/>
                  </a:cubicBezTo>
                  <a:cubicBezTo>
                    <a:pt x="926" y="243"/>
                    <a:pt x="929" y="248"/>
                    <a:pt x="933" y="252"/>
                  </a:cubicBezTo>
                  <a:cubicBezTo>
                    <a:pt x="1201" y="523"/>
                    <a:pt x="1201" y="523"/>
                    <a:pt x="1201" y="523"/>
                  </a:cubicBezTo>
                  <a:cubicBezTo>
                    <a:pt x="1201" y="1570"/>
                    <a:pt x="1201" y="1570"/>
                    <a:pt x="1201" y="1570"/>
                  </a:cubicBezTo>
                  <a:cubicBezTo>
                    <a:pt x="1141" y="1508"/>
                    <a:pt x="1141" y="1508"/>
                    <a:pt x="1141" y="1508"/>
                  </a:cubicBezTo>
                  <a:cubicBezTo>
                    <a:pt x="1133" y="1500"/>
                    <a:pt x="1119" y="1499"/>
                    <a:pt x="1110" y="1508"/>
                  </a:cubicBezTo>
                  <a:cubicBezTo>
                    <a:pt x="1101" y="1516"/>
                    <a:pt x="1101" y="1530"/>
                    <a:pt x="1109" y="1539"/>
                  </a:cubicBezTo>
                  <a:cubicBezTo>
                    <a:pt x="1206" y="1638"/>
                    <a:pt x="1206" y="1638"/>
                    <a:pt x="1206" y="1638"/>
                  </a:cubicBezTo>
                  <a:cubicBezTo>
                    <a:pt x="1210" y="1642"/>
                    <a:pt x="1216" y="1645"/>
                    <a:pt x="1222" y="1645"/>
                  </a:cubicBezTo>
                  <a:cubicBezTo>
                    <a:pt x="1227" y="1645"/>
                    <a:pt x="1233" y="1643"/>
                    <a:pt x="1237" y="1638"/>
                  </a:cubicBezTo>
                  <a:cubicBezTo>
                    <a:pt x="1336" y="1542"/>
                    <a:pt x="1336" y="1542"/>
                    <a:pt x="1336" y="1542"/>
                  </a:cubicBezTo>
                  <a:cubicBezTo>
                    <a:pt x="1345" y="1533"/>
                    <a:pt x="1345" y="1519"/>
                    <a:pt x="1337" y="1511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grpSp>
        <p:nvGrpSpPr>
          <p:cNvPr id="68" name="Group 67"/>
          <p:cNvGrpSpPr/>
          <p:nvPr/>
        </p:nvGrpSpPr>
        <p:grpSpPr>
          <a:xfrm>
            <a:off x="1029468" y="4333146"/>
            <a:ext cx="7762106" cy="453462"/>
            <a:chOff x="1372624" y="5656241"/>
            <a:chExt cx="10349475" cy="604429"/>
          </a:xfrm>
        </p:grpSpPr>
        <p:sp>
          <p:nvSpPr>
            <p:cNvPr id="13" name="Rectangle 12"/>
            <p:cNvSpPr/>
            <p:nvPr/>
          </p:nvSpPr>
          <p:spPr>
            <a:xfrm>
              <a:off x="2568359" y="5656241"/>
              <a:ext cx="2568338" cy="604429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750"/>
                </a:spcAft>
              </a:pPr>
              <a:r>
                <a:rPr lang="ru-RU" sz="1100" b="1" dirty="0">
                  <a:solidFill>
                    <a:srgbClr val="575757"/>
                  </a:solidFill>
                </a:rPr>
                <a:t>Последовательность и системность регулирования</a:t>
              </a:r>
            </a:p>
          </p:txBody>
        </p:sp>
        <p:sp>
          <p:nvSpPr>
            <p:cNvPr id="14" name="Oval 20"/>
            <p:cNvSpPr>
              <a:spLocks noChangeArrowheads="1"/>
            </p:cNvSpPr>
            <p:nvPr/>
          </p:nvSpPr>
          <p:spPr bwMode="auto">
            <a:xfrm>
              <a:off x="1372624" y="5823518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ru-RU" sz="900" dirty="0">
                  <a:solidFill>
                    <a:schemeClr val="bg1"/>
                  </a:solidFill>
                </a:rPr>
                <a:t>5</a:t>
              </a:r>
            </a:p>
          </p:txBody>
        </p:sp>
        <p:grpSp>
          <p:nvGrpSpPr>
            <p:cNvPr id="42" name="Group 41"/>
            <p:cNvGrpSpPr/>
            <p:nvPr/>
          </p:nvGrpSpPr>
          <p:grpSpPr>
            <a:xfrm>
              <a:off x="5359404" y="5823518"/>
              <a:ext cx="269875" cy="269875"/>
              <a:chOff x="982662" y="1847850"/>
              <a:chExt cx="269875" cy="269875"/>
            </a:xfrm>
          </p:grpSpPr>
          <p:sp>
            <p:nvSpPr>
              <p:cNvPr id="43" name="Oval 50"/>
              <p:cNvSpPr>
                <a:spLocks noChangeArrowheads="1"/>
              </p:cNvSpPr>
              <p:nvPr/>
            </p:nvSpPr>
            <p:spPr bwMode="auto">
              <a:xfrm>
                <a:off x="982662" y="1847850"/>
                <a:ext cx="269875" cy="269875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4" name="Freeform 51"/>
              <p:cNvSpPr>
                <a:spLocks/>
              </p:cNvSpPr>
              <p:nvPr/>
            </p:nvSpPr>
            <p:spPr bwMode="auto">
              <a:xfrm>
                <a:off x="1082675" y="1895475"/>
                <a:ext cx="96837" cy="174625"/>
              </a:xfrm>
              <a:custGeom>
                <a:avLst/>
                <a:gdLst>
                  <a:gd name="T0" fmla="*/ 6 w 61"/>
                  <a:gd name="T1" fmla="*/ 0 h 110"/>
                  <a:gd name="T2" fmla="*/ 0 w 61"/>
                  <a:gd name="T3" fmla="*/ 7 h 110"/>
                  <a:gd name="T4" fmla="*/ 48 w 61"/>
                  <a:gd name="T5" fmla="*/ 55 h 110"/>
                  <a:gd name="T6" fmla="*/ 0 w 61"/>
                  <a:gd name="T7" fmla="*/ 104 h 110"/>
                  <a:gd name="T8" fmla="*/ 6 w 61"/>
                  <a:gd name="T9" fmla="*/ 110 h 110"/>
                  <a:gd name="T10" fmla="*/ 54 w 61"/>
                  <a:gd name="T11" fmla="*/ 62 h 110"/>
                  <a:gd name="T12" fmla="*/ 61 w 61"/>
                  <a:gd name="T13" fmla="*/ 55 h 110"/>
                  <a:gd name="T14" fmla="*/ 54 w 61"/>
                  <a:gd name="T15" fmla="*/ 49 h 110"/>
                  <a:gd name="T16" fmla="*/ 6 w 61"/>
                  <a:gd name="T17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1" h="110">
                    <a:moveTo>
                      <a:pt x="6" y="0"/>
                    </a:moveTo>
                    <a:lnTo>
                      <a:pt x="0" y="7"/>
                    </a:lnTo>
                    <a:lnTo>
                      <a:pt x="48" y="55"/>
                    </a:lnTo>
                    <a:lnTo>
                      <a:pt x="0" y="104"/>
                    </a:lnTo>
                    <a:lnTo>
                      <a:pt x="6" y="110"/>
                    </a:lnTo>
                    <a:lnTo>
                      <a:pt x="54" y="62"/>
                    </a:lnTo>
                    <a:lnTo>
                      <a:pt x="61" y="55"/>
                    </a:lnTo>
                    <a:lnTo>
                      <a:pt x="54" y="49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46" name="Rectangle 45"/>
            <p:cNvSpPr/>
            <p:nvPr/>
          </p:nvSpPr>
          <p:spPr>
            <a:xfrm>
              <a:off x="5796620" y="5702237"/>
              <a:ext cx="5925479" cy="512438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750"/>
                </a:spcAft>
              </a:pPr>
              <a:r>
                <a:rPr lang="ru-RU" sz="1100" dirty="0">
                  <a:solidFill>
                    <a:srgbClr val="575757"/>
                  </a:solidFill>
                </a:rPr>
                <a:t>Соответствие единому вектору и отсутствие противоречий в отдельных НПА </a:t>
              </a:r>
              <a:r>
                <a:rPr lang="ru-RU" sz="1100" b="1" dirty="0">
                  <a:solidFill>
                    <a:srgbClr val="575757"/>
                  </a:solidFill>
                </a:rPr>
                <a:t>повысит доверие и стимулирует инвестиции в</a:t>
              </a:r>
              <a:r>
                <a:rPr lang="ru-RU" sz="1100" dirty="0">
                  <a:solidFill>
                    <a:srgbClr val="575757"/>
                  </a:solidFill>
                </a:rPr>
                <a:t> </a:t>
              </a:r>
              <a:r>
                <a:rPr lang="ru-RU" sz="1100" b="1" dirty="0">
                  <a:solidFill>
                    <a:srgbClr val="575757"/>
                  </a:solidFill>
                </a:rPr>
                <a:t>создание новых рынков</a:t>
              </a:r>
            </a:p>
          </p:txBody>
        </p:sp>
        <p:grpSp>
          <p:nvGrpSpPr>
            <p:cNvPr id="70" name="bcgIcons_OpportunityMapping">
              <a:extLst>
                <a:ext uri="{FF2B5EF4-FFF2-40B4-BE49-F238E27FC236}">
                  <a16:creationId xmlns:a16="http://schemas.microsoft.com/office/drawing/2014/main" xmlns="" id="{46B5D44F-F94F-4B85-B541-EC962994502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849810" y="5667574"/>
              <a:ext cx="581225" cy="581764"/>
              <a:chOff x="1682" y="0"/>
              <a:chExt cx="4316" cy="4320"/>
            </a:xfrm>
          </p:grpSpPr>
          <p:sp>
            <p:nvSpPr>
              <p:cNvPr id="71" name="AutoShape 13">
                <a:extLst>
                  <a:ext uri="{FF2B5EF4-FFF2-40B4-BE49-F238E27FC236}">
                    <a16:creationId xmlns:a16="http://schemas.microsoft.com/office/drawing/2014/main" xmlns="" id="{7765EE75-DEB8-47F5-BF32-7AC230F4B238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72" name="Freeform 15">
                <a:extLst>
                  <a:ext uri="{FF2B5EF4-FFF2-40B4-BE49-F238E27FC236}">
                    <a16:creationId xmlns:a16="http://schemas.microsoft.com/office/drawing/2014/main" xmlns="" id="{020B003A-B175-4CB8-A390-319627008B6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04" y="877"/>
                <a:ext cx="2493" cy="1855"/>
              </a:xfrm>
              <a:custGeom>
                <a:avLst/>
                <a:gdLst>
                  <a:gd name="T0" fmla="*/ 300 w 1331"/>
                  <a:gd name="T1" fmla="*/ 3 h 989"/>
                  <a:gd name="T2" fmla="*/ 0 w 1331"/>
                  <a:gd name="T3" fmla="*/ 310 h 989"/>
                  <a:gd name="T4" fmla="*/ 294 w 1331"/>
                  <a:gd name="T5" fmla="*/ 984 h 989"/>
                  <a:gd name="T6" fmla="*/ 306 w 1331"/>
                  <a:gd name="T7" fmla="*/ 984 h 989"/>
                  <a:gd name="T8" fmla="*/ 597 w 1331"/>
                  <a:gd name="T9" fmla="*/ 310 h 989"/>
                  <a:gd name="T10" fmla="*/ 300 w 1331"/>
                  <a:gd name="T11" fmla="*/ 3 h 989"/>
                  <a:gd name="T12" fmla="*/ 419 w 1331"/>
                  <a:gd name="T13" fmla="*/ 226 h 989"/>
                  <a:gd name="T14" fmla="*/ 364 w 1331"/>
                  <a:gd name="T15" fmla="*/ 279 h 989"/>
                  <a:gd name="T16" fmla="*/ 362 w 1331"/>
                  <a:gd name="T17" fmla="*/ 284 h 989"/>
                  <a:gd name="T18" fmla="*/ 374 w 1331"/>
                  <a:gd name="T19" fmla="*/ 359 h 989"/>
                  <a:gd name="T20" fmla="*/ 367 w 1331"/>
                  <a:gd name="T21" fmla="*/ 364 h 989"/>
                  <a:gd name="T22" fmla="*/ 300 w 1331"/>
                  <a:gd name="T23" fmla="*/ 328 h 989"/>
                  <a:gd name="T24" fmla="*/ 295 w 1331"/>
                  <a:gd name="T25" fmla="*/ 328 h 989"/>
                  <a:gd name="T26" fmla="*/ 228 w 1331"/>
                  <a:gd name="T27" fmla="*/ 363 h 989"/>
                  <a:gd name="T28" fmla="*/ 220 w 1331"/>
                  <a:gd name="T29" fmla="*/ 357 h 989"/>
                  <a:gd name="T30" fmla="*/ 234 w 1331"/>
                  <a:gd name="T31" fmla="*/ 282 h 989"/>
                  <a:gd name="T32" fmla="*/ 232 w 1331"/>
                  <a:gd name="T33" fmla="*/ 277 h 989"/>
                  <a:gd name="T34" fmla="*/ 179 w 1331"/>
                  <a:gd name="T35" fmla="*/ 224 h 989"/>
                  <a:gd name="T36" fmla="*/ 182 w 1331"/>
                  <a:gd name="T37" fmla="*/ 215 h 989"/>
                  <a:gd name="T38" fmla="*/ 256 w 1331"/>
                  <a:gd name="T39" fmla="*/ 204 h 989"/>
                  <a:gd name="T40" fmla="*/ 261 w 1331"/>
                  <a:gd name="T41" fmla="*/ 202 h 989"/>
                  <a:gd name="T42" fmla="*/ 295 w 1331"/>
                  <a:gd name="T43" fmla="*/ 134 h 989"/>
                  <a:gd name="T44" fmla="*/ 304 w 1331"/>
                  <a:gd name="T45" fmla="*/ 134 h 989"/>
                  <a:gd name="T46" fmla="*/ 337 w 1331"/>
                  <a:gd name="T47" fmla="*/ 202 h 989"/>
                  <a:gd name="T48" fmla="*/ 341 w 1331"/>
                  <a:gd name="T49" fmla="*/ 206 h 989"/>
                  <a:gd name="T50" fmla="*/ 416 w 1331"/>
                  <a:gd name="T51" fmla="*/ 217 h 989"/>
                  <a:gd name="T52" fmla="*/ 419 w 1331"/>
                  <a:gd name="T53" fmla="*/ 226 h 989"/>
                  <a:gd name="T54" fmla="*/ 1146 w 1331"/>
                  <a:gd name="T55" fmla="*/ 0 h 989"/>
                  <a:gd name="T56" fmla="*/ 958 w 1331"/>
                  <a:gd name="T57" fmla="*/ 192 h 989"/>
                  <a:gd name="T58" fmla="*/ 1142 w 1331"/>
                  <a:gd name="T59" fmla="*/ 613 h 989"/>
                  <a:gd name="T60" fmla="*/ 1149 w 1331"/>
                  <a:gd name="T61" fmla="*/ 613 h 989"/>
                  <a:gd name="T62" fmla="*/ 1331 w 1331"/>
                  <a:gd name="T63" fmla="*/ 192 h 989"/>
                  <a:gd name="T64" fmla="*/ 1146 w 1331"/>
                  <a:gd name="T65" fmla="*/ 0 h 989"/>
                  <a:gd name="T66" fmla="*/ 1220 w 1331"/>
                  <a:gd name="T67" fmla="*/ 155 h 989"/>
                  <a:gd name="T68" fmla="*/ 1186 w 1331"/>
                  <a:gd name="T69" fmla="*/ 188 h 989"/>
                  <a:gd name="T70" fmla="*/ 1185 w 1331"/>
                  <a:gd name="T71" fmla="*/ 191 h 989"/>
                  <a:gd name="T72" fmla="*/ 1192 w 1331"/>
                  <a:gd name="T73" fmla="*/ 238 h 989"/>
                  <a:gd name="T74" fmla="*/ 1187 w 1331"/>
                  <a:gd name="T75" fmla="*/ 241 h 989"/>
                  <a:gd name="T76" fmla="*/ 1146 w 1331"/>
                  <a:gd name="T77" fmla="*/ 219 h 989"/>
                  <a:gd name="T78" fmla="*/ 1143 w 1331"/>
                  <a:gd name="T79" fmla="*/ 218 h 989"/>
                  <a:gd name="T80" fmla="*/ 1101 w 1331"/>
                  <a:gd name="T81" fmla="*/ 240 h 989"/>
                  <a:gd name="T82" fmla="*/ 1096 w 1331"/>
                  <a:gd name="T83" fmla="*/ 237 h 989"/>
                  <a:gd name="T84" fmla="*/ 1104 w 1331"/>
                  <a:gd name="T85" fmla="*/ 190 h 989"/>
                  <a:gd name="T86" fmla="*/ 1103 w 1331"/>
                  <a:gd name="T87" fmla="*/ 187 h 989"/>
                  <a:gd name="T88" fmla="*/ 1070 w 1331"/>
                  <a:gd name="T89" fmla="*/ 153 h 989"/>
                  <a:gd name="T90" fmla="*/ 1072 w 1331"/>
                  <a:gd name="T91" fmla="*/ 148 h 989"/>
                  <a:gd name="T92" fmla="*/ 1118 w 1331"/>
                  <a:gd name="T93" fmla="*/ 141 h 989"/>
                  <a:gd name="T94" fmla="*/ 1121 w 1331"/>
                  <a:gd name="T95" fmla="*/ 139 h 989"/>
                  <a:gd name="T96" fmla="*/ 1142 w 1331"/>
                  <a:gd name="T97" fmla="*/ 97 h 989"/>
                  <a:gd name="T98" fmla="*/ 1149 w 1331"/>
                  <a:gd name="T99" fmla="*/ 97 h 989"/>
                  <a:gd name="T100" fmla="*/ 1169 w 1331"/>
                  <a:gd name="T101" fmla="*/ 140 h 989"/>
                  <a:gd name="T102" fmla="*/ 1171 w 1331"/>
                  <a:gd name="T103" fmla="*/ 142 h 989"/>
                  <a:gd name="T104" fmla="*/ 1218 w 1331"/>
                  <a:gd name="T105" fmla="*/ 149 h 989"/>
                  <a:gd name="T106" fmla="*/ 1220 w 1331"/>
                  <a:gd name="T107" fmla="*/ 155 h 9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1331" h="989">
                    <a:moveTo>
                      <a:pt x="300" y="3"/>
                    </a:moveTo>
                    <a:cubicBezTo>
                      <a:pt x="134" y="3"/>
                      <a:pt x="0" y="142"/>
                      <a:pt x="0" y="310"/>
                    </a:cubicBezTo>
                    <a:cubicBezTo>
                      <a:pt x="0" y="465"/>
                      <a:pt x="251" y="910"/>
                      <a:pt x="294" y="984"/>
                    </a:cubicBezTo>
                    <a:cubicBezTo>
                      <a:pt x="296" y="989"/>
                      <a:pt x="303" y="989"/>
                      <a:pt x="306" y="984"/>
                    </a:cubicBezTo>
                    <a:cubicBezTo>
                      <a:pt x="348" y="910"/>
                      <a:pt x="597" y="465"/>
                      <a:pt x="597" y="310"/>
                    </a:cubicBezTo>
                    <a:cubicBezTo>
                      <a:pt x="597" y="142"/>
                      <a:pt x="466" y="3"/>
                      <a:pt x="300" y="3"/>
                    </a:cubicBezTo>
                    <a:close/>
                    <a:moveTo>
                      <a:pt x="419" y="226"/>
                    </a:moveTo>
                    <a:cubicBezTo>
                      <a:pt x="364" y="279"/>
                      <a:pt x="364" y="279"/>
                      <a:pt x="364" y="279"/>
                    </a:cubicBezTo>
                    <a:cubicBezTo>
                      <a:pt x="363" y="280"/>
                      <a:pt x="362" y="282"/>
                      <a:pt x="362" y="284"/>
                    </a:cubicBezTo>
                    <a:cubicBezTo>
                      <a:pt x="374" y="359"/>
                      <a:pt x="374" y="359"/>
                      <a:pt x="374" y="359"/>
                    </a:cubicBezTo>
                    <a:cubicBezTo>
                      <a:pt x="375" y="363"/>
                      <a:pt x="371" y="366"/>
                      <a:pt x="367" y="364"/>
                    </a:cubicBezTo>
                    <a:cubicBezTo>
                      <a:pt x="300" y="328"/>
                      <a:pt x="300" y="328"/>
                      <a:pt x="300" y="328"/>
                    </a:cubicBezTo>
                    <a:cubicBezTo>
                      <a:pt x="298" y="327"/>
                      <a:pt x="297" y="327"/>
                      <a:pt x="295" y="328"/>
                    </a:cubicBezTo>
                    <a:cubicBezTo>
                      <a:pt x="228" y="363"/>
                      <a:pt x="228" y="363"/>
                      <a:pt x="228" y="363"/>
                    </a:cubicBezTo>
                    <a:cubicBezTo>
                      <a:pt x="224" y="365"/>
                      <a:pt x="219" y="361"/>
                      <a:pt x="220" y="357"/>
                    </a:cubicBezTo>
                    <a:cubicBezTo>
                      <a:pt x="234" y="282"/>
                      <a:pt x="234" y="282"/>
                      <a:pt x="234" y="282"/>
                    </a:cubicBezTo>
                    <a:cubicBezTo>
                      <a:pt x="234" y="280"/>
                      <a:pt x="234" y="278"/>
                      <a:pt x="232" y="277"/>
                    </a:cubicBezTo>
                    <a:cubicBezTo>
                      <a:pt x="179" y="224"/>
                      <a:pt x="179" y="224"/>
                      <a:pt x="179" y="224"/>
                    </a:cubicBezTo>
                    <a:cubicBezTo>
                      <a:pt x="176" y="221"/>
                      <a:pt x="177" y="215"/>
                      <a:pt x="182" y="215"/>
                    </a:cubicBezTo>
                    <a:cubicBezTo>
                      <a:pt x="256" y="204"/>
                      <a:pt x="256" y="204"/>
                      <a:pt x="256" y="204"/>
                    </a:cubicBezTo>
                    <a:cubicBezTo>
                      <a:pt x="258" y="204"/>
                      <a:pt x="260" y="203"/>
                      <a:pt x="261" y="202"/>
                    </a:cubicBezTo>
                    <a:cubicBezTo>
                      <a:pt x="295" y="134"/>
                      <a:pt x="295" y="134"/>
                      <a:pt x="295" y="134"/>
                    </a:cubicBezTo>
                    <a:cubicBezTo>
                      <a:pt x="297" y="130"/>
                      <a:pt x="302" y="130"/>
                      <a:pt x="304" y="134"/>
                    </a:cubicBezTo>
                    <a:cubicBezTo>
                      <a:pt x="337" y="202"/>
                      <a:pt x="337" y="202"/>
                      <a:pt x="337" y="202"/>
                    </a:cubicBezTo>
                    <a:cubicBezTo>
                      <a:pt x="338" y="204"/>
                      <a:pt x="339" y="205"/>
                      <a:pt x="341" y="206"/>
                    </a:cubicBezTo>
                    <a:cubicBezTo>
                      <a:pt x="416" y="217"/>
                      <a:pt x="416" y="217"/>
                      <a:pt x="416" y="217"/>
                    </a:cubicBezTo>
                    <a:cubicBezTo>
                      <a:pt x="420" y="218"/>
                      <a:pt x="422" y="223"/>
                      <a:pt x="419" y="226"/>
                    </a:cubicBezTo>
                    <a:close/>
                    <a:moveTo>
                      <a:pt x="1146" y="0"/>
                    </a:moveTo>
                    <a:cubicBezTo>
                      <a:pt x="1042" y="0"/>
                      <a:pt x="958" y="87"/>
                      <a:pt x="958" y="192"/>
                    </a:cubicBezTo>
                    <a:cubicBezTo>
                      <a:pt x="958" y="289"/>
                      <a:pt x="1115" y="567"/>
                      <a:pt x="1142" y="613"/>
                    </a:cubicBezTo>
                    <a:cubicBezTo>
                      <a:pt x="1144" y="616"/>
                      <a:pt x="1148" y="616"/>
                      <a:pt x="1149" y="613"/>
                    </a:cubicBezTo>
                    <a:cubicBezTo>
                      <a:pt x="1176" y="567"/>
                      <a:pt x="1331" y="289"/>
                      <a:pt x="1331" y="192"/>
                    </a:cubicBezTo>
                    <a:cubicBezTo>
                      <a:pt x="1331" y="87"/>
                      <a:pt x="1249" y="0"/>
                      <a:pt x="1146" y="0"/>
                    </a:cubicBezTo>
                    <a:close/>
                    <a:moveTo>
                      <a:pt x="1220" y="155"/>
                    </a:moveTo>
                    <a:cubicBezTo>
                      <a:pt x="1186" y="188"/>
                      <a:pt x="1186" y="188"/>
                      <a:pt x="1186" y="188"/>
                    </a:cubicBezTo>
                    <a:cubicBezTo>
                      <a:pt x="1185" y="188"/>
                      <a:pt x="1185" y="190"/>
                      <a:pt x="1185" y="191"/>
                    </a:cubicBezTo>
                    <a:cubicBezTo>
                      <a:pt x="1192" y="238"/>
                      <a:pt x="1192" y="238"/>
                      <a:pt x="1192" y="238"/>
                    </a:cubicBezTo>
                    <a:cubicBezTo>
                      <a:pt x="1193" y="240"/>
                      <a:pt x="1190" y="242"/>
                      <a:pt x="1187" y="241"/>
                    </a:cubicBezTo>
                    <a:cubicBezTo>
                      <a:pt x="1146" y="219"/>
                      <a:pt x="1146" y="219"/>
                      <a:pt x="1146" y="219"/>
                    </a:cubicBezTo>
                    <a:cubicBezTo>
                      <a:pt x="1145" y="218"/>
                      <a:pt x="1144" y="218"/>
                      <a:pt x="1143" y="218"/>
                    </a:cubicBezTo>
                    <a:cubicBezTo>
                      <a:pt x="1101" y="240"/>
                      <a:pt x="1101" y="240"/>
                      <a:pt x="1101" y="240"/>
                    </a:cubicBezTo>
                    <a:cubicBezTo>
                      <a:pt x="1098" y="241"/>
                      <a:pt x="1095" y="239"/>
                      <a:pt x="1096" y="237"/>
                    </a:cubicBezTo>
                    <a:cubicBezTo>
                      <a:pt x="1104" y="190"/>
                      <a:pt x="1104" y="190"/>
                      <a:pt x="1104" y="190"/>
                    </a:cubicBezTo>
                    <a:cubicBezTo>
                      <a:pt x="1104" y="189"/>
                      <a:pt x="1104" y="188"/>
                      <a:pt x="1103" y="187"/>
                    </a:cubicBezTo>
                    <a:cubicBezTo>
                      <a:pt x="1070" y="153"/>
                      <a:pt x="1070" y="153"/>
                      <a:pt x="1070" y="153"/>
                    </a:cubicBezTo>
                    <a:cubicBezTo>
                      <a:pt x="1068" y="151"/>
                      <a:pt x="1069" y="148"/>
                      <a:pt x="1072" y="148"/>
                    </a:cubicBezTo>
                    <a:cubicBezTo>
                      <a:pt x="1118" y="141"/>
                      <a:pt x="1118" y="141"/>
                      <a:pt x="1118" y="141"/>
                    </a:cubicBezTo>
                    <a:cubicBezTo>
                      <a:pt x="1120" y="141"/>
                      <a:pt x="1121" y="141"/>
                      <a:pt x="1121" y="139"/>
                    </a:cubicBezTo>
                    <a:cubicBezTo>
                      <a:pt x="1142" y="97"/>
                      <a:pt x="1142" y="97"/>
                      <a:pt x="1142" y="97"/>
                    </a:cubicBezTo>
                    <a:cubicBezTo>
                      <a:pt x="1144" y="95"/>
                      <a:pt x="1147" y="95"/>
                      <a:pt x="1149" y="97"/>
                    </a:cubicBezTo>
                    <a:cubicBezTo>
                      <a:pt x="1169" y="140"/>
                      <a:pt x="1169" y="140"/>
                      <a:pt x="1169" y="140"/>
                    </a:cubicBezTo>
                    <a:cubicBezTo>
                      <a:pt x="1169" y="141"/>
                      <a:pt x="1170" y="142"/>
                      <a:pt x="1171" y="142"/>
                    </a:cubicBezTo>
                    <a:cubicBezTo>
                      <a:pt x="1218" y="149"/>
                      <a:pt x="1218" y="149"/>
                      <a:pt x="1218" y="149"/>
                    </a:cubicBezTo>
                    <a:cubicBezTo>
                      <a:pt x="1221" y="150"/>
                      <a:pt x="1222" y="153"/>
                      <a:pt x="1220" y="155"/>
                    </a:cubicBez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73" name="Freeform 16">
                <a:extLst>
                  <a:ext uri="{FF2B5EF4-FFF2-40B4-BE49-F238E27FC236}">
                    <a16:creationId xmlns:a16="http://schemas.microsoft.com/office/drawing/2014/main" xmlns="" id="{0E02D212-17FD-448F-87B5-CCA177AA39B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864" y="712"/>
                <a:ext cx="3956" cy="2665"/>
              </a:xfrm>
              <a:custGeom>
                <a:avLst/>
                <a:gdLst>
                  <a:gd name="T0" fmla="*/ 663 w 2112"/>
                  <a:gd name="T1" fmla="*/ 1199 h 1421"/>
                  <a:gd name="T2" fmla="*/ 469 w 2112"/>
                  <a:gd name="T3" fmla="*/ 844 h 1421"/>
                  <a:gd name="T4" fmla="*/ 695 w 2112"/>
                  <a:gd name="T5" fmla="*/ 0 h 1421"/>
                  <a:gd name="T6" fmla="*/ 920 w 2112"/>
                  <a:gd name="T7" fmla="*/ 844 h 1421"/>
                  <a:gd name="T8" fmla="*/ 727 w 2112"/>
                  <a:gd name="T9" fmla="*/ 1199 h 1421"/>
                  <a:gd name="T10" fmla="*/ 695 w 2112"/>
                  <a:gd name="T11" fmla="*/ 1218 h 1421"/>
                  <a:gd name="T12" fmla="*/ 352 w 2112"/>
                  <a:gd name="T13" fmla="*/ 395 h 1421"/>
                  <a:gd name="T14" fmla="*/ 662 w 2112"/>
                  <a:gd name="T15" fmla="*/ 1110 h 1421"/>
                  <a:gd name="T16" fmla="*/ 728 w 2112"/>
                  <a:gd name="T17" fmla="*/ 1110 h 1421"/>
                  <a:gd name="T18" fmla="*/ 1036 w 2112"/>
                  <a:gd name="T19" fmla="*/ 395 h 1421"/>
                  <a:gd name="T20" fmla="*/ 1344 w 2112"/>
                  <a:gd name="T21" fmla="*/ 593 h 1421"/>
                  <a:gd name="T22" fmla="*/ 1081 w 2112"/>
                  <a:gd name="T23" fmla="*/ 587 h 1421"/>
                  <a:gd name="T24" fmla="*/ 1364 w 2112"/>
                  <a:gd name="T25" fmla="*/ 631 h 1421"/>
                  <a:gd name="T26" fmla="*/ 2110 w 2112"/>
                  <a:gd name="T27" fmla="*/ 1377 h 1421"/>
                  <a:gd name="T28" fmla="*/ 1876 w 2112"/>
                  <a:gd name="T29" fmla="*/ 587 h 1421"/>
                  <a:gd name="T30" fmla="*/ 1736 w 2112"/>
                  <a:gd name="T31" fmla="*/ 592 h 1421"/>
                  <a:gd name="T32" fmla="*/ 1876 w 2112"/>
                  <a:gd name="T33" fmla="*/ 631 h 1421"/>
                  <a:gd name="T34" fmla="*/ 2064 w 2112"/>
                  <a:gd name="T35" fmla="*/ 1377 h 1421"/>
                  <a:gd name="T36" fmla="*/ 232 w 2112"/>
                  <a:gd name="T37" fmla="*/ 631 h 1421"/>
                  <a:gd name="T38" fmla="*/ 324 w 2112"/>
                  <a:gd name="T39" fmla="*/ 631 h 1421"/>
                  <a:gd name="T40" fmla="*/ 236 w 2112"/>
                  <a:gd name="T41" fmla="*/ 587 h 1421"/>
                  <a:gd name="T42" fmla="*/ 2 w 2112"/>
                  <a:gd name="T43" fmla="*/ 1377 h 1421"/>
                  <a:gd name="T44" fmla="*/ 45 w 2112"/>
                  <a:gd name="T45" fmla="*/ 1421 h 1421"/>
                  <a:gd name="T46" fmla="*/ 2104 w 2112"/>
                  <a:gd name="T47" fmla="*/ 1405 h 1421"/>
                  <a:gd name="T48" fmla="*/ 1541 w 2112"/>
                  <a:gd name="T49" fmla="*/ 826 h 1421"/>
                  <a:gd name="T50" fmla="*/ 1487 w 2112"/>
                  <a:gd name="T51" fmla="*/ 765 h 1421"/>
                  <a:gd name="T52" fmla="*/ 1276 w 2112"/>
                  <a:gd name="T53" fmla="*/ 270 h 1421"/>
                  <a:gd name="T54" fmla="*/ 1804 w 2112"/>
                  <a:gd name="T55" fmla="*/ 270 h 1421"/>
                  <a:gd name="T56" fmla="*/ 1594 w 2112"/>
                  <a:gd name="T57" fmla="*/ 765 h 1421"/>
                  <a:gd name="T58" fmla="*/ 1541 w 2112"/>
                  <a:gd name="T59" fmla="*/ 826 h 1421"/>
                  <a:gd name="T60" fmla="*/ 1541 w 2112"/>
                  <a:gd name="T61" fmla="*/ 44 h 1421"/>
                  <a:gd name="T62" fmla="*/ 1423 w 2112"/>
                  <a:gd name="T63" fmla="*/ 553 h 1421"/>
                  <a:gd name="T64" fmla="*/ 1541 w 2112"/>
                  <a:gd name="T65" fmla="*/ 770 h 1421"/>
                  <a:gd name="T66" fmla="*/ 1658 w 2112"/>
                  <a:gd name="T67" fmla="*/ 553 h 1421"/>
                  <a:gd name="T68" fmla="*/ 1541 w 2112"/>
                  <a:gd name="T69" fmla="*/ 44 h 1421"/>
                  <a:gd name="T70" fmla="*/ 1195 w 2112"/>
                  <a:gd name="T71" fmla="*/ 908 h 1421"/>
                  <a:gd name="T72" fmla="*/ 1195 w 2112"/>
                  <a:gd name="T73" fmla="*/ 826 h 1421"/>
                  <a:gd name="T74" fmla="*/ 1449 w 2112"/>
                  <a:gd name="T75" fmla="*/ 787 h 1421"/>
                  <a:gd name="T76" fmla="*/ 1195 w 2112"/>
                  <a:gd name="T77" fmla="*/ 782 h 1421"/>
                  <a:gd name="T78" fmla="*/ 1195 w 2112"/>
                  <a:gd name="T79" fmla="*/ 952 h 1421"/>
                  <a:gd name="T80" fmla="*/ 1659 w 2112"/>
                  <a:gd name="T81" fmla="*/ 1063 h 1421"/>
                  <a:gd name="T82" fmla="*/ 793 w 2112"/>
                  <a:gd name="T83" fmla="*/ 1174 h 1421"/>
                  <a:gd name="T84" fmla="*/ 1548 w 2112"/>
                  <a:gd name="T85" fmla="*/ 1218 h 1421"/>
                  <a:gd name="T86" fmla="*/ 1548 w 2112"/>
                  <a:gd name="T87" fmla="*/ 908 h 14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2112" h="1421">
                    <a:moveTo>
                      <a:pt x="695" y="1218"/>
                    </a:moveTo>
                    <a:cubicBezTo>
                      <a:pt x="681" y="1218"/>
                      <a:pt x="669" y="1211"/>
                      <a:pt x="663" y="1199"/>
                    </a:cubicBezTo>
                    <a:cubicBezTo>
                      <a:pt x="624" y="1132"/>
                      <a:pt x="624" y="1132"/>
                      <a:pt x="624" y="1132"/>
                    </a:cubicBezTo>
                    <a:cubicBezTo>
                      <a:pt x="623" y="1131"/>
                      <a:pt x="545" y="997"/>
                      <a:pt x="469" y="844"/>
                    </a:cubicBezTo>
                    <a:cubicBezTo>
                      <a:pt x="360" y="627"/>
                      <a:pt x="308" y="480"/>
                      <a:pt x="308" y="395"/>
                    </a:cubicBezTo>
                    <a:cubicBezTo>
                      <a:pt x="308" y="177"/>
                      <a:pt x="481" y="0"/>
                      <a:pt x="695" y="0"/>
                    </a:cubicBezTo>
                    <a:cubicBezTo>
                      <a:pt x="907" y="0"/>
                      <a:pt x="1080" y="177"/>
                      <a:pt x="1080" y="395"/>
                    </a:cubicBezTo>
                    <a:cubicBezTo>
                      <a:pt x="1080" y="480"/>
                      <a:pt x="1027" y="627"/>
                      <a:pt x="920" y="844"/>
                    </a:cubicBezTo>
                    <a:cubicBezTo>
                      <a:pt x="844" y="997"/>
                      <a:pt x="767" y="1131"/>
                      <a:pt x="766" y="1132"/>
                    </a:cubicBezTo>
                    <a:cubicBezTo>
                      <a:pt x="727" y="1199"/>
                      <a:pt x="727" y="1199"/>
                      <a:pt x="727" y="1199"/>
                    </a:cubicBezTo>
                    <a:cubicBezTo>
                      <a:pt x="721" y="1211"/>
                      <a:pt x="709" y="1218"/>
                      <a:pt x="695" y="1218"/>
                    </a:cubicBezTo>
                    <a:cubicBezTo>
                      <a:pt x="695" y="1218"/>
                      <a:pt x="695" y="1218"/>
                      <a:pt x="695" y="1218"/>
                    </a:cubicBezTo>
                    <a:close/>
                    <a:moveTo>
                      <a:pt x="695" y="44"/>
                    </a:moveTo>
                    <a:cubicBezTo>
                      <a:pt x="506" y="44"/>
                      <a:pt x="352" y="202"/>
                      <a:pt x="352" y="395"/>
                    </a:cubicBezTo>
                    <a:cubicBezTo>
                      <a:pt x="352" y="473"/>
                      <a:pt x="403" y="614"/>
                      <a:pt x="508" y="825"/>
                    </a:cubicBezTo>
                    <a:cubicBezTo>
                      <a:pt x="584" y="976"/>
                      <a:pt x="661" y="1109"/>
                      <a:pt x="662" y="1110"/>
                    </a:cubicBezTo>
                    <a:cubicBezTo>
                      <a:pt x="695" y="1167"/>
                      <a:pt x="695" y="1167"/>
                      <a:pt x="695" y="1167"/>
                    </a:cubicBezTo>
                    <a:cubicBezTo>
                      <a:pt x="728" y="1110"/>
                      <a:pt x="728" y="1110"/>
                      <a:pt x="728" y="1110"/>
                    </a:cubicBezTo>
                    <a:cubicBezTo>
                      <a:pt x="729" y="1109"/>
                      <a:pt x="805" y="976"/>
                      <a:pt x="880" y="825"/>
                    </a:cubicBezTo>
                    <a:cubicBezTo>
                      <a:pt x="985" y="614"/>
                      <a:pt x="1036" y="473"/>
                      <a:pt x="1036" y="395"/>
                    </a:cubicBezTo>
                    <a:cubicBezTo>
                      <a:pt x="1036" y="202"/>
                      <a:pt x="883" y="44"/>
                      <a:pt x="695" y="44"/>
                    </a:cubicBezTo>
                    <a:close/>
                    <a:moveTo>
                      <a:pt x="1344" y="593"/>
                    </a:moveTo>
                    <a:cubicBezTo>
                      <a:pt x="1343" y="591"/>
                      <a:pt x="1343" y="589"/>
                      <a:pt x="1342" y="587"/>
                    </a:cubicBezTo>
                    <a:cubicBezTo>
                      <a:pt x="1081" y="587"/>
                      <a:pt x="1081" y="587"/>
                      <a:pt x="1081" y="587"/>
                    </a:cubicBezTo>
                    <a:cubicBezTo>
                      <a:pt x="1076" y="601"/>
                      <a:pt x="1070" y="616"/>
                      <a:pt x="1064" y="631"/>
                    </a:cubicBezTo>
                    <a:cubicBezTo>
                      <a:pt x="1364" y="631"/>
                      <a:pt x="1364" y="631"/>
                      <a:pt x="1364" y="631"/>
                    </a:cubicBezTo>
                    <a:cubicBezTo>
                      <a:pt x="1357" y="619"/>
                      <a:pt x="1351" y="606"/>
                      <a:pt x="1344" y="593"/>
                    </a:cubicBezTo>
                    <a:close/>
                    <a:moveTo>
                      <a:pt x="2110" y="1377"/>
                    </a:moveTo>
                    <a:cubicBezTo>
                      <a:pt x="1921" y="615"/>
                      <a:pt x="1921" y="615"/>
                      <a:pt x="1921" y="615"/>
                    </a:cubicBezTo>
                    <a:cubicBezTo>
                      <a:pt x="1916" y="596"/>
                      <a:pt x="1894" y="587"/>
                      <a:pt x="1876" y="587"/>
                    </a:cubicBezTo>
                    <a:cubicBezTo>
                      <a:pt x="1739" y="587"/>
                      <a:pt x="1739" y="587"/>
                      <a:pt x="1739" y="587"/>
                    </a:cubicBezTo>
                    <a:cubicBezTo>
                      <a:pt x="1738" y="589"/>
                      <a:pt x="1737" y="591"/>
                      <a:pt x="1736" y="592"/>
                    </a:cubicBezTo>
                    <a:cubicBezTo>
                      <a:pt x="1730" y="605"/>
                      <a:pt x="1723" y="618"/>
                      <a:pt x="1717" y="631"/>
                    </a:cubicBezTo>
                    <a:cubicBezTo>
                      <a:pt x="1876" y="631"/>
                      <a:pt x="1876" y="631"/>
                      <a:pt x="1876" y="631"/>
                    </a:cubicBezTo>
                    <a:cubicBezTo>
                      <a:pt x="1877" y="631"/>
                      <a:pt x="1879" y="631"/>
                      <a:pt x="1880" y="631"/>
                    </a:cubicBezTo>
                    <a:cubicBezTo>
                      <a:pt x="2064" y="1377"/>
                      <a:pt x="2064" y="1377"/>
                      <a:pt x="2064" y="1377"/>
                    </a:cubicBezTo>
                    <a:cubicBezTo>
                      <a:pt x="48" y="1377"/>
                      <a:pt x="48" y="1377"/>
                      <a:pt x="48" y="1377"/>
                    </a:cubicBezTo>
                    <a:cubicBezTo>
                      <a:pt x="232" y="631"/>
                      <a:pt x="232" y="631"/>
                      <a:pt x="232" y="631"/>
                    </a:cubicBezTo>
                    <a:cubicBezTo>
                      <a:pt x="233" y="631"/>
                      <a:pt x="235" y="631"/>
                      <a:pt x="236" y="631"/>
                    </a:cubicBezTo>
                    <a:cubicBezTo>
                      <a:pt x="324" y="631"/>
                      <a:pt x="324" y="631"/>
                      <a:pt x="324" y="631"/>
                    </a:cubicBezTo>
                    <a:cubicBezTo>
                      <a:pt x="318" y="616"/>
                      <a:pt x="312" y="601"/>
                      <a:pt x="307" y="587"/>
                    </a:cubicBezTo>
                    <a:cubicBezTo>
                      <a:pt x="236" y="587"/>
                      <a:pt x="236" y="587"/>
                      <a:pt x="236" y="587"/>
                    </a:cubicBezTo>
                    <a:cubicBezTo>
                      <a:pt x="218" y="587"/>
                      <a:pt x="196" y="596"/>
                      <a:pt x="191" y="615"/>
                    </a:cubicBezTo>
                    <a:cubicBezTo>
                      <a:pt x="2" y="1377"/>
                      <a:pt x="2" y="1377"/>
                      <a:pt x="2" y="1377"/>
                    </a:cubicBezTo>
                    <a:cubicBezTo>
                      <a:pt x="0" y="1387"/>
                      <a:pt x="2" y="1397"/>
                      <a:pt x="8" y="1405"/>
                    </a:cubicBezTo>
                    <a:cubicBezTo>
                      <a:pt x="16" y="1415"/>
                      <a:pt x="30" y="1421"/>
                      <a:pt x="45" y="1421"/>
                    </a:cubicBezTo>
                    <a:cubicBezTo>
                      <a:pt x="2067" y="1421"/>
                      <a:pt x="2067" y="1421"/>
                      <a:pt x="2067" y="1421"/>
                    </a:cubicBezTo>
                    <a:cubicBezTo>
                      <a:pt x="2082" y="1421"/>
                      <a:pt x="2096" y="1415"/>
                      <a:pt x="2104" y="1405"/>
                    </a:cubicBezTo>
                    <a:cubicBezTo>
                      <a:pt x="2110" y="1397"/>
                      <a:pt x="2112" y="1387"/>
                      <a:pt x="2110" y="1377"/>
                    </a:cubicBezTo>
                    <a:close/>
                    <a:moveTo>
                      <a:pt x="1541" y="826"/>
                    </a:moveTo>
                    <a:cubicBezTo>
                      <a:pt x="1529" y="826"/>
                      <a:pt x="1519" y="819"/>
                      <a:pt x="1513" y="810"/>
                    </a:cubicBezTo>
                    <a:cubicBezTo>
                      <a:pt x="1487" y="765"/>
                      <a:pt x="1487" y="765"/>
                      <a:pt x="1487" y="765"/>
                    </a:cubicBezTo>
                    <a:cubicBezTo>
                      <a:pt x="1487" y="764"/>
                      <a:pt x="1435" y="675"/>
                      <a:pt x="1384" y="573"/>
                    </a:cubicBezTo>
                    <a:cubicBezTo>
                      <a:pt x="1310" y="425"/>
                      <a:pt x="1276" y="329"/>
                      <a:pt x="1276" y="270"/>
                    </a:cubicBezTo>
                    <a:cubicBezTo>
                      <a:pt x="1276" y="122"/>
                      <a:pt x="1395" y="0"/>
                      <a:pt x="1541" y="0"/>
                    </a:cubicBezTo>
                    <a:cubicBezTo>
                      <a:pt x="1686" y="0"/>
                      <a:pt x="1804" y="122"/>
                      <a:pt x="1804" y="270"/>
                    </a:cubicBezTo>
                    <a:cubicBezTo>
                      <a:pt x="1804" y="329"/>
                      <a:pt x="1770" y="425"/>
                      <a:pt x="1697" y="573"/>
                    </a:cubicBezTo>
                    <a:cubicBezTo>
                      <a:pt x="1647" y="675"/>
                      <a:pt x="1595" y="764"/>
                      <a:pt x="1594" y="765"/>
                    </a:cubicBezTo>
                    <a:cubicBezTo>
                      <a:pt x="1569" y="809"/>
                      <a:pt x="1569" y="809"/>
                      <a:pt x="1569" y="809"/>
                    </a:cubicBezTo>
                    <a:cubicBezTo>
                      <a:pt x="1563" y="819"/>
                      <a:pt x="1552" y="826"/>
                      <a:pt x="1541" y="826"/>
                    </a:cubicBezTo>
                    <a:cubicBezTo>
                      <a:pt x="1541" y="826"/>
                      <a:pt x="1541" y="826"/>
                      <a:pt x="1541" y="826"/>
                    </a:cubicBezTo>
                    <a:close/>
                    <a:moveTo>
                      <a:pt x="1541" y="44"/>
                    </a:moveTo>
                    <a:cubicBezTo>
                      <a:pt x="1419" y="44"/>
                      <a:pt x="1320" y="146"/>
                      <a:pt x="1320" y="270"/>
                    </a:cubicBezTo>
                    <a:cubicBezTo>
                      <a:pt x="1320" y="321"/>
                      <a:pt x="1354" y="416"/>
                      <a:pt x="1423" y="553"/>
                    </a:cubicBezTo>
                    <a:cubicBezTo>
                      <a:pt x="1474" y="655"/>
                      <a:pt x="1525" y="742"/>
                      <a:pt x="1525" y="743"/>
                    </a:cubicBezTo>
                    <a:cubicBezTo>
                      <a:pt x="1541" y="770"/>
                      <a:pt x="1541" y="770"/>
                      <a:pt x="1541" y="770"/>
                    </a:cubicBezTo>
                    <a:cubicBezTo>
                      <a:pt x="1556" y="743"/>
                      <a:pt x="1556" y="743"/>
                      <a:pt x="1556" y="743"/>
                    </a:cubicBezTo>
                    <a:cubicBezTo>
                      <a:pt x="1557" y="742"/>
                      <a:pt x="1607" y="655"/>
                      <a:pt x="1658" y="553"/>
                    </a:cubicBezTo>
                    <a:cubicBezTo>
                      <a:pt x="1726" y="416"/>
                      <a:pt x="1760" y="321"/>
                      <a:pt x="1760" y="270"/>
                    </a:cubicBezTo>
                    <a:cubicBezTo>
                      <a:pt x="1760" y="146"/>
                      <a:pt x="1662" y="44"/>
                      <a:pt x="1541" y="44"/>
                    </a:cubicBezTo>
                    <a:close/>
                    <a:moveTo>
                      <a:pt x="1548" y="908"/>
                    </a:moveTo>
                    <a:cubicBezTo>
                      <a:pt x="1195" y="908"/>
                      <a:pt x="1195" y="908"/>
                      <a:pt x="1195" y="908"/>
                    </a:cubicBezTo>
                    <a:cubicBezTo>
                      <a:pt x="1172" y="908"/>
                      <a:pt x="1154" y="889"/>
                      <a:pt x="1154" y="867"/>
                    </a:cubicBezTo>
                    <a:cubicBezTo>
                      <a:pt x="1154" y="844"/>
                      <a:pt x="1172" y="826"/>
                      <a:pt x="1195" y="826"/>
                    </a:cubicBezTo>
                    <a:cubicBezTo>
                      <a:pt x="1471" y="826"/>
                      <a:pt x="1471" y="826"/>
                      <a:pt x="1471" y="826"/>
                    </a:cubicBezTo>
                    <a:cubicBezTo>
                      <a:pt x="1449" y="787"/>
                      <a:pt x="1449" y="787"/>
                      <a:pt x="1449" y="787"/>
                    </a:cubicBezTo>
                    <a:cubicBezTo>
                      <a:pt x="1449" y="787"/>
                      <a:pt x="1448" y="785"/>
                      <a:pt x="1446" y="782"/>
                    </a:cubicBezTo>
                    <a:cubicBezTo>
                      <a:pt x="1195" y="782"/>
                      <a:pt x="1195" y="782"/>
                      <a:pt x="1195" y="782"/>
                    </a:cubicBezTo>
                    <a:cubicBezTo>
                      <a:pt x="1148" y="782"/>
                      <a:pt x="1110" y="820"/>
                      <a:pt x="1110" y="867"/>
                    </a:cubicBezTo>
                    <a:cubicBezTo>
                      <a:pt x="1110" y="914"/>
                      <a:pt x="1148" y="952"/>
                      <a:pt x="1195" y="952"/>
                    </a:cubicBezTo>
                    <a:cubicBezTo>
                      <a:pt x="1548" y="952"/>
                      <a:pt x="1548" y="952"/>
                      <a:pt x="1548" y="952"/>
                    </a:cubicBezTo>
                    <a:cubicBezTo>
                      <a:pt x="1609" y="952"/>
                      <a:pt x="1659" y="1002"/>
                      <a:pt x="1659" y="1063"/>
                    </a:cubicBezTo>
                    <a:cubicBezTo>
                      <a:pt x="1659" y="1124"/>
                      <a:pt x="1609" y="1174"/>
                      <a:pt x="1548" y="1174"/>
                    </a:cubicBezTo>
                    <a:cubicBezTo>
                      <a:pt x="793" y="1174"/>
                      <a:pt x="793" y="1174"/>
                      <a:pt x="793" y="1174"/>
                    </a:cubicBezTo>
                    <a:cubicBezTo>
                      <a:pt x="767" y="1218"/>
                      <a:pt x="767" y="1218"/>
                      <a:pt x="767" y="1218"/>
                    </a:cubicBezTo>
                    <a:cubicBezTo>
                      <a:pt x="1548" y="1218"/>
                      <a:pt x="1548" y="1218"/>
                      <a:pt x="1548" y="1218"/>
                    </a:cubicBezTo>
                    <a:cubicBezTo>
                      <a:pt x="1633" y="1218"/>
                      <a:pt x="1703" y="1148"/>
                      <a:pt x="1703" y="1063"/>
                    </a:cubicBezTo>
                    <a:cubicBezTo>
                      <a:pt x="1703" y="977"/>
                      <a:pt x="1633" y="908"/>
                      <a:pt x="1548" y="908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</p:grpSp>
      </p:grpSp>
      <p:grpSp>
        <p:nvGrpSpPr>
          <p:cNvPr id="67" name="Group 66"/>
          <p:cNvGrpSpPr/>
          <p:nvPr/>
        </p:nvGrpSpPr>
        <p:grpSpPr>
          <a:xfrm>
            <a:off x="1023067" y="3717511"/>
            <a:ext cx="7768508" cy="453462"/>
            <a:chOff x="1364088" y="4881019"/>
            <a:chExt cx="10358011" cy="604429"/>
          </a:xfrm>
        </p:grpSpPr>
        <p:sp>
          <p:nvSpPr>
            <p:cNvPr id="12" name="Rectangle 11"/>
            <p:cNvSpPr/>
            <p:nvPr/>
          </p:nvSpPr>
          <p:spPr>
            <a:xfrm>
              <a:off x="2568359" y="4881019"/>
              <a:ext cx="2568338" cy="604429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750"/>
                </a:spcAft>
              </a:pPr>
              <a:r>
                <a:rPr lang="ru-RU" sz="1100" b="1" dirty="0">
                  <a:solidFill>
                    <a:srgbClr val="575757"/>
                  </a:solidFill>
                </a:rPr>
                <a:t>Стимулирование саморегулирования</a:t>
              </a:r>
            </a:p>
          </p:txBody>
        </p:sp>
        <p:sp>
          <p:nvSpPr>
            <p:cNvPr id="15" name="Oval 20"/>
            <p:cNvSpPr>
              <a:spLocks noChangeArrowheads="1"/>
            </p:cNvSpPr>
            <p:nvPr/>
          </p:nvSpPr>
          <p:spPr bwMode="auto">
            <a:xfrm>
              <a:off x="1364088" y="5048296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ru-RU" sz="900" dirty="0">
                  <a:solidFill>
                    <a:schemeClr val="bg1"/>
                  </a:solidFill>
                </a:rPr>
                <a:t>4</a:t>
              </a:r>
            </a:p>
          </p:txBody>
        </p:sp>
        <p:grpSp>
          <p:nvGrpSpPr>
            <p:cNvPr id="39" name="Group 38"/>
            <p:cNvGrpSpPr/>
            <p:nvPr/>
          </p:nvGrpSpPr>
          <p:grpSpPr>
            <a:xfrm>
              <a:off x="5359404" y="5048296"/>
              <a:ext cx="269875" cy="269875"/>
              <a:chOff x="982662" y="1847850"/>
              <a:chExt cx="269875" cy="269875"/>
            </a:xfrm>
          </p:grpSpPr>
          <p:sp>
            <p:nvSpPr>
              <p:cNvPr id="40" name="Oval 50"/>
              <p:cNvSpPr>
                <a:spLocks noChangeArrowheads="1"/>
              </p:cNvSpPr>
              <p:nvPr/>
            </p:nvSpPr>
            <p:spPr bwMode="auto">
              <a:xfrm>
                <a:off x="982662" y="1847850"/>
                <a:ext cx="269875" cy="269875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41" name="Freeform 51"/>
              <p:cNvSpPr>
                <a:spLocks/>
              </p:cNvSpPr>
              <p:nvPr/>
            </p:nvSpPr>
            <p:spPr bwMode="auto">
              <a:xfrm>
                <a:off x="1082675" y="1895475"/>
                <a:ext cx="96837" cy="174625"/>
              </a:xfrm>
              <a:custGeom>
                <a:avLst/>
                <a:gdLst>
                  <a:gd name="T0" fmla="*/ 6 w 61"/>
                  <a:gd name="T1" fmla="*/ 0 h 110"/>
                  <a:gd name="T2" fmla="*/ 0 w 61"/>
                  <a:gd name="T3" fmla="*/ 7 h 110"/>
                  <a:gd name="T4" fmla="*/ 48 w 61"/>
                  <a:gd name="T5" fmla="*/ 55 h 110"/>
                  <a:gd name="T6" fmla="*/ 0 w 61"/>
                  <a:gd name="T7" fmla="*/ 104 h 110"/>
                  <a:gd name="T8" fmla="*/ 6 w 61"/>
                  <a:gd name="T9" fmla="*/ 110 h 110"/>
                  <a:gd name="T10" fmla="*/ 54 w 61"/>
                  <a:gd name="T11" fmla="*/ 62 h 110"/>
                  <a:gd name="T12" fmla="*/ 61 w 61"/>
                  <a:gd name="T13" fmla="*/ 55 h 110"/>
                  <a:gd name="T14" fmla="*/ 54 w 61"/>
                  <a:gd name="T15" fmla="*/ 49 h 110"/>
                  <a:gd name="T16" fmla="*/ 6 w 61"/>
                  <a:gd name="T17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1" h="110">
                    <a:moveTo>
                      <a:pt x="6" y="0"/>
                    </a:moveTo>
                    <a:lnTo>
                      <a:pt x="0" y="7"/>
                    </a:lnTo>
                    <a:lnTo>
                      <a:pt x="48" y="55"/>
                    </a:lnTo>
                    <a:lnTo>
                      <a:pt x="0" y="104"/>
                    </a:lnTo>
                    <a:lnTo>
                      <a:pt x="6" y="110"/>
                    </a:lnTo>
                    <a:lnTo>
                      <a:pt x="54" y="62"/>
                    </a:lnTo>
                    <a:lnTo>
                      <a:pt x="61" y="55"/>
                    </a:lnTo>
                    <a:lnTo>
                      <a:pt x="54" y="49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chemeClr val="bg1"/>
                  </a:solidFill>
                </a:endParaRPr>
              </a:p>
            </p:txBody>
          </p:sp>
        </p:grpSp>
        <p:sp>
          <p:nvSpPr>
            <p:cNvPr id="47" name="Rectangle 46"/>
            <p:cNvSpPr/>
            <p:nvPr/>
          </p:nvSpPr>
          <p:spPr>
            <a:xfrm>
              <a:off x="5796620" y="4987728"/>
              <a:ext cx="5925479" cy="391011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750"/>
                </a:spcAft>
              </a:pPr>
              <a:r>
                <a:rPr lang="ru-RU" sz="1100" dirty="0">
                  <a:solidFill>
                    <a:srgbClr val="575757"/>
                  </a:solidFill>
                </a:rPr>
                <a:t>Минимизация регулирования и доверие индустрии самостоятельно разрабатывать правила игры </a:t>
              </a:r>
              <a:r>
                <a:rPr lang="ru-RU" sz="1100" b="1" dirty="0">
                  <a:solidFill>
                    <a:srgbClr val="575757"/>
                  </a:solidFill>
                </a:rPr>
                <a:t>повышает доверие в экономике</a:t>
              </a:r>
            </a:p>
          </p:txBody>
        </p:sp>
        <p:grpSp>
          <p:nvGrpSpPr>
            <p:cNvPr id="74" name="bcgIcons_OptimizeByTakingSteepStep">
              <a:extLst>
                <a:ext uri="{FF2B5EF4-FFF2-40B4-BE49-F238E27FC236}">
                  <a16:creationId xmlns:a16="http://schemas.microsoft.com/office/drawing/2014/main" xmlns="" id="{891169B4-D0FB-4FDD-87B2-B8D15E5A2A5E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>
              <a:off x="1834669" y="4892352"/>
              <a:ext cx="581225" cy="581764"/>
              <a:chOff x="1682" y="0"/>
              <a:chExt cx="4316" cy="4320"/>
            </a:xfrm>
          </p:grpSpPr>
          <p:sp>
            <p:nvSpPr>
              <p:cNvPr id="75" name="AutoShape 18">
                <a:extLst>
                  <a:ext uri="{FF2B5EF4-FFF2-40B4-BE49-F238E27FC236}">
                    <a16:creationId xmlns:a16="http://schemas.microsoft.com/office/drawing/2014/main" xmlns="" id="{DB2FD2B6-E892-4021-AF78-99DC83EF174E}"/>
                  </a:ext>
                </a:extLst>
              </p:cNvPr>
              <p:cNvSpPr>
                <a:spLocks noChangeAspect="1" noChangeArrowheads="1" noTextEdit="1"/>
              </p:cNvSpPr>
              <p:nvPr/>
            </p:nvSpPr>
            <p:spPr bwMode="auto">
              <a:xfrm>
                <a:off x="1682" y="0"/>
                <a:ext cx="4316" cy="432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76" name="Freeform 20">
                <a:extLst>
                  <a:ext uri="{FF2B5EF4-FFF2-40B4-BE49-F238E27FC236}">
                    <a16:creationId xmlns:a16="http://schemas.microsoft.com/office/drawing/2014/main" xmlns="" id="{09FD098A-9282-478C-863B-743B9F594F06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69" y="748"/>
                <a:ext cx="2738" cy="1371"/>
              </a:xfrm>
              <a:custGeom>
                <a:avLst/>
                <a:gdLst>
                  <a:gd name="T0" fmla="*/ 964 w 1462"/>
                  <a:gd name="T1" fmla="*/ 167 h 731"/>
                  <a:gd name="T2" fmla="*/ 731 w 1462"/>
                  <a:gd name="T3" fmla="*/ 120 h 731"/>
                  <a:gd name="T4" fmla="*/ 120 w 1462"/>
                  <a:gd name="T5" fmla="*/ 731 h 731"/>
                  <a:gd name="T6" fmla="*/ 0 w 1462"/>
                  <a:gd name="T7" fmla="*/ 731 h 731"/>
                  <a:gd name="T8" fmla="*/ 731 w 1462"/>
                  <a:gd name="T9" fmla="*/ 0 h 731"/>
                  <a:gd name="T10" fmla="*/ 1029 w 1462"/>
                  <a:gd name="T11" fmla="*/ 64 h 731"/>
                  <a:gd name="T12" fmla="*/ 964 w 1462"/>
                  <a:gd name="T13" fmla="*/ 167 h 731"/>
                  <a:gd name="T14" fmla="*/ 1180 w 1462"/>
                  <a:gd name="T15" fmla="*/ 155 h 731"/>
                  <a:gd name="T16" fmla="*/ 1121 w 1462"/>
                  <a:gd name="T17" fmla="*/ 261 h 731"/>
                  <a:gd name="T18" fmla="*/ 1342 w 1462"/>
                  <a:gd name="T19" fmla="*/ 731 h 731"/>
                  <a:gd name="T20" fmla="*/ 1462 w 1462"/>
                  <a:gd name="T21" fmla="*/ 731 h 731"/>
                  <a:gd name="T22" fmla="*/ 1180 w 1462"/>
                  <a:gd name="T23" fmla="*/ 155 h 731"/>
                  <a:gd name="T24" fmla="*/ 297 w 1462"/>
                  <a:gd name="T25" fmla="*/ 685 h 731"/>
                  <a:gd name="T26" fmla="*/ 252 w 1462"/>
                  <a:gd name="T27" fmla="*/ 640 h 731"/>
                  <a:gd name="T28" fmla="*/ 206 w 1462"/>
                  <a:gd name="T29" fmla="*/ 685 h 731"/>
                  <a:gd name="T30" fmla="*/ 252 w 1462"/>
                  <a:gd name="T31" fmla="*/ 731 h 731"/>
                  <a:gd name="T32" fmla="*/ 297 w 1462"/>
                  <a:gd name="T33" fmla="*/ 685 h 731"/>
                  <a:gd name="T34" fmla="*/ 1256 w 1462"/>
                  <a:gd name="T35" fmla="*/ 685 h 731"/>
                  <a:gd name="T36" fmla="*/ 1210 w 1462"/>
                  <a:gd name="T37" fmla="*/ 640 h 731"/>
                  <a:gd name="T38" fmla="*/ 1165 w 1462"/>
                  <a:gd name="T39" fmla="*/ 685 h 731"/>
                  <a:gd name="T40" fmla="*/ 1210 w 1462"/>
                  <a:gd name="T41" fmla="*/ 731 h 731"/>
                  <a:gd name="T42" fmla="*/ 1256 w 1462"/>
                  <a:gd name="T43" fmla="*/ 685 h 731"/>
                  <a:gd name="T44" fmla="*/ 355 w 1462"/>
                  <a:gd name="T45" fmla="*/ 469 h 731"/>
                  <a:gd name="T46" fmla="*/ 339 w 1462"/>
                  <a:gd name="T47" fmla="*/ 406 h 731"/>
                  <a:gd name="T48" fmla="*/ 276 w 1462"/>
                  <a:gd name="T49" fmla="*/ 423 h 731"/>
                  <a:gd name="T50" fmla="*/ 293 w 1462"/>
                  <a:gd name="T51" fmla="*/ 485 h 731"/>
                  <a:gd name="T52" fmla="*/ 355 w 1462"/>
                  <a:gd name="T53" fmla="*/ 469 h 731"/>
                  <a:gd name="T54" fmla="*/ 514 w 1462"/>
                  <a:gd name="T55" fmla="*/ 310 h 731"/>
                  <a:gd name="T56" fmla="*/ 531 w 1462"/>
                  <a:gd name="T57" fmla="*/ 248 h 731"/>
                  <a:gd name="T58" fmla="*/ 469 w 1462"/>
                  <a:gd name="T59" fmla="*/ 231 h 731"/>
                  <a:gd name="T60" fmla="*/ 452 w 1462"/>
                  <a:gd name="T61" fmla="*/ 293 h 731"/>
                  <a:gd name="T62" fmla="*/ 514 w 1462"/>
                  <a:gd name="T63" fmla="*/ 310 h 731"/>
                  <a:gd name="T64" fmla="*/ 731 w 1462"/>
                  <a:gd name="T65" fmla="*/ 252 h 731"/>
                  <a:gd name="T66" fmla="*/ 777 w 1462"/>
                  <a:gd name="T67" fmla="*/ 206 h 731"/>
                  <a:gd name="T68" fmla="*/ 731 w 1462"/>
                  <a:gd name="T69" fmla="*/ 161 h 731"/>
                  <a:gd name="T70" fmla="*/ 685 w 1462"/>
                  <a:gd name="T71" fmla="*/ 206 h 731"/>
                  <a:gd name="T72" fmla="*/ 731 w 1462"/>
                  <a:gd name="T73" fmla="*/ 252 h 731"/>
                  <a:gd name="T74" fmla="*/ 1107 w 1462"/>
                  <a:gd name="T75" fmla="*/ 469 h 731"/>
                  <a:gd name="T76" fmla="*/ 1169 w 1462"/>
                  <a:gd name="T77" fmla="*/ 485 h 731"/>
                  <a:gd name="T78" fmla="*/ 1186 w 1462"/>
                  <a:gd name="T79" fmla="*/ 423 h 731"/>
                  <a:gd name="T80" fmla="*/ 1123 w 1462"/>
                  <a:gd name="T81" fmla="*/ 406 h 731"/>
                  <a:gd name="T82" fmla="*/ 1107 w 1462"/>
                  <a:gd name="T83" fmla="*/ 469 h 73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462" h="731">
                    <a:moveTo>
                      <a:pt x="964" y="167"/>
                    </a:moveTo>
                    <a:cubicBezTo>
                      <a:pt x="893" y="137"/>
                      <a:pt x="814" y="120"/>
                      <a:pt x="731" y="120"/>
                    </a:cubicBezTo>
                    <a:cubicBezTo>
                      <a:pt x="394" y="120"/>
                      <a:pt x="120" y="394"/>
                      <a:pt x="120" y="731"/>
                    </a:cubicBezTo>
                    <a:cubicBezTo>
                      <a:pt x="0" y="731"/>
                      <a:pt x="0" y="731"/>
                      <a:pt x="0" y="731"/>
                    </a:cubicBezTo>
                    <a:cubicBezTo>
                      <a:pt x="0" y="328"/>
                      <a:pt x="328" y="0"/>
                      <a:pt x="731" y="0"/>
                    </a:cubicBezTo>
                    <a:cubicBezTo>
                      <a:pt x="837" y="0"/>
                      <a:pt x="938" y="23"/>
                      <a:pt x="1029" y="64"/>
                    </a:cubicBezTo>
                    <a:lnTo>
                      <a:pt x="964" y="167"/>
                    </a:lnTo>
                    <a:close/>
                    <a:moveTo>
                      <a:pt x="1180" y="155"/>
                    </a:moveTo>
                    <a:cubicBezTo>
                      <a:pt x="1121" y="261"/>
                      <a:pt x="1121" y="261"/>
                      <a:pt x="1121" y="261"/>
                    </a:cubicBezTo>
                    <a:cubicBezTo>
                      <a:pt x="1256" y="373"/>
                      <a:pt x="1342" y="542"/>
                      <a:pt x="1342" y="731"/>
                    </a:cubicBezTo>
                    <a:cubicBezTo>
                      <a:pt x="1462" y="731"/>
                      <a:pt x="1462" y="731"/>
                      <a:pt x="1462" y="731"/>
                    </a:cubicBezTo>
                    <a:cubicBezTo>
                      <a:pt x="1462" y="497"/>
                      <a:pt x="1351" y="289"/>
                      <a:pt x="1180" y="155"/>
                    </a:cubicBezTo>
                    <a:close/>
                    <a:moveTo>
                      <a:pt x="297" y="685"/>
                    </a:moveTo>
                    <a:cubicBezTo>
                      <a:pt x="297" y="660"/>
                      <a:pt x="277" y="640"/>
                      <a:pt x="252" y="640"/>
                    </a:cubicBezTo>
                    <a:cubicBezTo>
                      <a:pt x="226" y="640"/>
                      <a:pt x="206" y="660"/>
                      <a:pt x="206" y="685"/>
                    </a:cubicBezTo>
                    <a:cubicBezTo>
                      <a:pt x="206" y="711"/>
                      <a:pt x="226" y="731"/>
                      <a:pt x="252" y="731"/>
                    </a:cubicBezTo>
                    <a:cubicBezTo>
                      <a:pt x="277" y="731"/>
                      <a:pt x="297" y="711"/>
                      <a:pt x="297" y="685"/>
                    </a:cubicBezTo>
                    <a:close/>
                    <a:moveTo>
                      <a:pt x="1256" y="685"/>
                    </a:moveTo>
                    <a:cubicBezTo>
                      <a:pt x="1256" y="660"/>
                      <a:pt x="1236" y="640"/>
                      <a:pt x="1210" y="640"/>
                    </a:cubicBezTo>
                    <a:cubicBezTo>
                      <a:pt x="1185" y="640"/>
                      <a:pt x="1165" y="660"/>
                      <a:pt x="1165" y="685"/>
                    </a:cubicBezTo>
                    <a:cubicBezTo>
                      <a:pt x="1165" y="711"/>
                      <a:pt x="1185" y="731"/>
                      <a:pt x="1210" y="731"/>
                    </a:cubicBezTo>
                    <a:cubicBezTo>
                      <a:pt x="1236" y="731"/>
                      <a:pt x="1256" y="711"/>
                      <a:pt x="1256" y="685"/>
                    </a:cubicBezTo>
                    <a:close/>
                    <a:moveTo>
                      <a:pt x="355" y="469"/>
                    </a:moveTo>
                    <a:cubicBezTo>
                      <a:pt x="368" y="447"/>
                      <a:pt x="360" y="419"/>
                      <a:pt x="339" y="406"/>
                    </a:cubicBezTo>
                    <a:cubicBezTo>
                      <a:pt x="317" y="394"/>
                      <a:pt x="289" y="401"/>
                      <a:pt x="276" y="423"/>
                    </a:cubicBezTo>
                    <a:cubicBezTo>
                      <a:pt x="264" y="445"/>
                      <a:pt x="271" y="473"/>
                      <a:pt x="293" y="485"/>
                    </a:cubicBezTo>
                    <a:cubicBezTo>
                      <a:pt x="315" y="498"/>
                      <a:pt x="343" y="490"/>
                      <a:pt x="355" y="469"/>
                    </a:cubicBezTo>
                    <a:close/>
                    <a:moveTo>
                      <a:pt x="514" y="310"/>
                    </a:moveTo>
                    <a:cubicBezTo>
                      <a:pt x="536" y="297"/>
                      <a:pt x="543" y="269"/>
                      <a:pt x="531" y="248"/>
                    </a:cubicBezTo>
                    <a:cubicBezTo>
                      <a:pt x="518" y="226"/>
                      <a:pt x="490" y="218"/>
                      <a:pt x="469" y="231"/>
                    </a:cubicBezTo>
                    <a:cubicBezTo>
                      <a:pt x="447" y="243"/>
                      <a:pt x="439" y="271"/>
                      <a:pt x="452" y="293"/>
                    </a:cubicBezTo>
                    <a:cubicBezTo>
                      <a:pt x="464" y="315"/>
                      <a:pt x="492" y="322"/>
                      <a:pt x="514" y="310"/>
                    </a:cubicBezTo>
                    <a:close/>
                    <a:moveTo>
                      <a:pt x="731" y="252"/>
                    </a:moveTo>
                    <a:cubicBezTo>
                      <a:pt x="756" y="252"/>
                      <a:pt x="777" y="231"/>
                      <a:pt x="777" y="206"/>
                    </a:cubicBezTo>
                    <a:cubicBezTo>
                      <a:pt x="777" y="181"/>
                      <a:pt x="756" y="161"/>
                      <a:pt x="731" y="161"/>
                    </a:cubicBezTo>
                    <a:cubicBezTo>
                      <a:pt x="706" y="161"/>
                      <a:pt x="685" y="181"/>
                      <a:pt x="685" y="206"/>
                    </a:cubicBezTo>
                    <a:cubicBezTo>
                      <a:pt x="685" y="231"/>
                      <a:pt x="706" y="252"/>
                      <a:pt x="731" y="252"/>
                    </a:cubicBezTo>
                    <a:close/>
                    <a:moveTo>
                      <a:pt x="1107" y="469"/>
                    </a:moveTo>
                    <a:cubicBezTo>
                      <a:pt x="1119" y="490"/>
                      <a:pt x="1147" y="498"/>
                      <a:pt x="1169" y="485"/>
                    </a:cubicBezTo>
                    <a:cubicBezTo>
                      <a:pt x="1191" y="473"/>
                      <a:pt x="1198" y="445"/>
                      <a:pt x="1186" y="423"/>
                    </a:cubicBezTo>
                    <a:cubicBezTo>
                      <a:pt x="1173" y="401"/>
                      <a:pt x="1145" y="394"/>
                      <a:pt x="1123" y="406"/>
                    </a:cubicBezTo>
                    <a:cubicBezTo>
                      <a:pt x="1102" y="419"/>
                      <a:pt x="1094" y="447"/>
                      <a:pt x="1107" y="469"/>
                    </a:cubicBezTo>
                    <a:close/>
                  </a:path>
                </a:pathLst>
              </a:custGeom>
              <a:solidFill>
                <a:schemeClr val="accent1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77" name="Freeform 21">
                <a:extLst>
                  <a:ext uri="{FF2B5EF4-FFF2-40B4-BE49-F238E27FC236}">
                    <a16:creationId xmlns:a16="http://schemas.microsoft.com/office/drawing/2014/main" xmlns="" id="{7E0D1466-DF88-4C43-A54C-F74BAA679069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69" y="891"/>
                <a:ext cx="2738" cy="2677"/>
              </a:xfrm>
              <a:custGeom>
                <a:avLst/>
                <a:gdLst>
                  <a:gd name="T0" fmla="*/ 1124 w 1462"/>
                  <a:gd name="T1" fmla="*/ 87 h 1428"/>
                  <a:gd name="T2" fmla="*/ 1117 w 1462"/>
                  <a:gd name="T3" fmla="*/ 101 h 1428"/>
                  <a:gd name="T4" fmla="*/ 1109 w 1462"/>
                  <a:gd name="T5" fmla="*/ 114 h 1428"/>
                  <a:gd name="T6" fmla="*/ 1101 w 1462"/>
                  <a:gd name="T7" fmla="*/ 129 h 1428"/>
                  <a:gd name="T8" fmla="*/ 1090 w 1462"/>
                  <a:gd name="T9" fmla="*/ 149 h 1428"/>
                  <a:gd name="T10" fmla="*/ 1075 w 1462"/>
                  <a:gd name="T11" fmla="*/ 177 h 1428"/>
                  <a:gd name="T12" fmla="*/ 1060 w 1462"/>
                  <a:gd name="T13" fmla="*/ 204 h 1428"/>
                  <a:gd name="T14" fmla="*/ 1045 w 1462"/>
                  <a:gd name="T15" fmla="*/ 232 h 1428"/>
                  <a:gd name="T16" fmla="*/ 1029 w 1462"/>
                  <a:gd name="T17" fmla="*/ 262 h 1428"/>
                  <a:gd name="T18" fmla="*/ 1014 w 1462"/>
                  <a:gd name="T19" fmla="*/ 290 h 1428"/>
                  <a:gd name="T20" fmla="*/ 999 w 1462"/>
                  <a:gd name="T21" fmla="*/ 318 h 1428"/>
                  <a:gd name="T22" fmla="*/ 983 w 1462"/>
                  <a:gd name="T23" fmla="*/ 346 h 1428"/>
                  <a:gd name="T24" fmla="*/ 968 w 1462"/>
                  <a:gd name="T25" fmla="*/ 375 h 1428"/>
                  <a:gd name="T26" fmla="*/ 953 w 1462"/>
                  <a:gd name="T27" fmla="*/ 403 h 1428"/>
                  <a:gd name="T28" fmla="*/ 938 w 1462"/>
                  <a:gd name="T29" fmla="*/ 431 h 1428"/>
                  <a:gd name="T30" fmla="*/ 923 w 1462"/>
                  <a:gd name="T31" fmla="*/ 459 h 1428"/>
                  <a:gd name="T32" fmla="*/ 907 w 1462"/>
                  <a:gd name="T33" fmla="*/ 489 h 1428"/>
                  <a:gd name="T34" fmla="*/ 892 w 1462"/>
                  <a:gd name="T35" fmla="*/ 517 h 1428"/>
                  <a:gd name="T36" fmla="*/ 877 w 1462"/>
                  <a:gd name="T37" fmla="*/ 546 h 1428"/>
                  <a:gd name="T38" fmla="*/ 862 w 1462"/>
                  <a:gd name="T39" fmla="*/ 574 h 1428"/>
                  <a:gd name="T40" fmla="*/ 847 w 1462"/>
                  <a:gd name="T41" fmla="*/ 602 h 1428"/>
                  <a:gd name="T42" fmla="*/ 832 w 1462"/>
                  <a:gd name="T43" fmla="*/ 630 h 1428"/>
                  <a:gd name="T44" fmla="*/ 816 w 1462"/>
                  <a:gd name="T45" fmla="*/ 660 h 1428"/>
                  <a:gd name="T46" fmla="*/ 801 w 1462"/>
                  <a:gd name="T47" fmla="*/ 688 h 1428"/>
                  <a:gd name="T48" fmla="*/ 675 w 1462"/>
                  <a:gd name="T49" fmla="*/ 639 h 1428"/>
                  <a:gd name="T50" fmla="*/ 691 w 1462"/>
                  <a:gd name="T51" fmla="*/ 613 h 1428"/>
                  <a:gd name="T52" fmla="*/ 705 w 1462"/>
                  <a:gd name="T53" fmla="*/ 592 h 1428"/>
                  <a:gd name="T54" fmla="*/ 722 w 1462"/>
                  <a:gd name="T55" fmla="*/ 564 h 1428"/>
                  <a:gd name="T56" fmla="*/ 740 w 1462"/>
                  <a:gd name="T57" fmla="*/ 537 h 1428"/>
                  <a:gd name="T58" fmla="*/ 757 w 1462"/>
                  <a:gd name="T59" fmla="*/ 509 h 1428"/>
                  <a:gd name="T60" fmla="*/ 774 w 1462"/>
                  <a:gd name="T61" fmla="*/ 481 h 1428"/>
                  <a:gd name="T62" fmla="*/ 791 w 1462"/>
                  <a:gd name="T63" fmla="*/ 455 h 1428"/>
                  <a:gd name="T64" fmla="*/ 808 w 1462"/>
                  <a:gd name="T65" fmla="*/ 428 h 1428"/>
                  <a:gd name="T66" fmla="*/ 825 w 1462"/>
                  <a:gd name="T67" fmla="*/ 400 h 1428"/>
                  <a:gd name="T68" fmla="*/ 842 w 1462"/>
                  <a:gd name="T69" fmla="*/ 372 h 1428"/>
                  <a:gd name="T70" fmla="*/ 860 w 1462"/>
                  <a:gd name="T71" fmla="*/ 344 h 1428"/>
                  <a:gd name="T72" fmla="*/ 872 w 1462"/>
                  <a:gd name="T73" fmla="*/ 324 h 1428"/>
                  <a:gd name="T74" fmla="*/ 889 w 1462"/>
                  <a:gd name="T75" fmla="*/ 296 h 1428"/>
                  <a:gd name="T76" fmla="*/ 907 w 1462"/>
                  <a:gd name="T77" fmla="*/ 269 h 1428"/>
                  <a:gd name="T78" fmla="*/ 924 w 1462"/>
                  <a:gd name="T79" fmla="*/ 241 h 1428"/>
                  <a:gd name="T80" fmla="*/ 936 w 1462"/>
                  <a:gd name="T81" fmla="*/ 221 h 1428"/>
                  <a:gd name="T82" fmla="*/ 953 w 1462"/>
                  <a:gd name="T83" fmla="*/ 193 h 1428"/>
                  <a:gd name="T84" fmla="*/ 970 w 1462"/>
                  <a:gd name="T85" fmla="*/ 165 h 1428"/>
                  <a:gd name="T86" fmla="*/ 985 w 1462"/>
                  <a:gd name="T87" fmla="*/ 140 h 1428"/>
                  <a:gd name="T88" fmla="*/ 1000 w 1462"/>
                  <a:gd name="T89" fmla="*/ 116 h 1428"/>
                  <a:gd name="T90" fmla="*/ 1017 w 1462"/>
                  <a:gd name="T91" fmla="*/ 89 h 1428"/>
                  <a:gd name="T92" fmla="*/ 1033 w 1462"/>
                  <a:gd name="T93" fmla="*/ 61 h 1428"/>
                  <a:gd name="T94" fmla="*/ 1041 w 1462"/>
                  <a:gd name="T95" fmla="*/ 49 h 1428"/>
                  <a:gd name="T96" fmla="*/ 1050 w 1462"/>
                  <a:gd name="T97" fmla="*/ 34 h 1428"/>
                  <a:gd name="T98" fmla="*/ 845 w 1462"/>
                  <a:gd name="T99" fmla="*/ 700 h 1428"/>
                  <a:gd name="T100" fmla="*/ 830 w 1462"/>
                  <a:gd name="T101" fmla="*/ 728 h 1428"/>
                  <a:gd name="T102" fmla="*/ 290 w 1462"/>
                  <a:gd name="T103" fmla="*/ 1220 h 1428"/>
                  <a:gd name="T104" fmla="*/ 377 w 1462"/>
                  <a:gd name="T105" fmla="*/ 1073 h 1428"/>
                  <a:gd name="T106" fmla="*/ 396 w 1462"/>
                  <a:gd name="T107" fmla="*/ 1073 h 1428"/>
                  <a:gd name="T108" fmla="*/ 483 w 1462"/>
                  <a:gd name="T109" fmla="*/ 1220 h 1428"/>
                  <a:gd name="T110" fmla="*/ 608 w 1462"/>
                  <a:gd name="T111" fmla="*/ 1078 h 1428"/>
                  <a:gd name="T112" fmla="*/ 726 w 1462"/>
                  <a:gd name="T113" fmla="*/ 955 h 1428"/>
                  <a:gd name="T114" fmla="*/ 745 w 1462"/>
                  <a:gd name="T115" fmla="*/ 959 h 1428"/>
                  <a:gd name="T116" fmla="*/ 757 w 1462"/>
                  <a:gd name="T117" fmla="*/ 1044 h 1428"/>
                  <a:gd name="T118" fmla="*/ 1057 w 1462"/>
                  <a:gd name="T119" fmla="*/ 846 h 1428"/>
                  <a:gd name="T120" fmla="*/ 1071 w 1462"/>
                  <a:gd name="T121" fmla="*/ 839 h 1428"/>
                  <a:gd name="T122" fmla="*/ 1090 w 1462"/>
                  <a:gd name="T123" fmla="*/ 843 h 1428"/>
                  <a:gd name="T124" fmla="*/ 1462 w 1462"/>
                  <a:gd name="T125" fmla="*/ 698 h 142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1462" h="1428">
                    <a:moveTo>
                      <a:pt x="1131" y="75"/>
                    </a:moveTo>
                    <a:cubicBezTo>
                      <a:pt x="1131" y="76"/>
                      <a:pt x="1131" y="76"/>
                      <a:pt x="1130" y="76"/>
                    </a:cubicBezTo>
                    <a:cubicBezTo>
                      <a:pt x="1130" y="77"/>
                      <a:pt x="1130" y="78"/>
                      <a:pt x="1129" y="78"/>
                    </a:cubicBezTo>
                    <a:cubicBezTo>
                      <a:pt x="1129" y="79"/>
                      <a:pt x="1129" y="79"/>
                      <a:pt x="1129" y="79"/>
                    </a:cubicBezTo>
                    <a:cubicBezTo>
                      <a:pt x="1128" y="80"/>
                      <a:pt x="1128" y="81"/>
                      <a:pt x="1128" y="81"/>
                    </a:cubicBezTo>
                    <a:cubicBezTo>
                      <a:pt x="1127" y="82"/>
                      <a:pt x="1127" y="82"/>
                      <a:pt x="1127" y="82"/>
                    </a:cubicBezTo>
                    <a:cubicBezTo>
                      <a:pt x="1127" y="83"/>
                      <a:pt x="1126" y="84"/>
                      <a:pt x="1126" y="84"/>
                    </a:cubicBezTo>
                    <a:cubicBezTo>
                      <a:pt x="1126" y="85"/>
                      <a:pt x="1125" y="85"/>
                      <a:pt x="1125" y="85"/>
                    </a:cubicBezTo>
                    <a:cubicBezTo>
                      <a:pt x="1125" y="86"/>
                      <a:pt x="1125" y="87"/>
                      <a:pt x="1124" y="87"/>
                    </a:cubicBezTo>
                    <a:cubicBezTo>
                      <a:pt x="1124" y="88"/>
                      <a:pt x="1124" y="88"/>
                      <a:pt x="1124" y="89"/>
                    </a:cubicBezTo>
                    <a:cubicBezTo>
                      <a:pt x="1123" y="89"/>
                      <a:pt x="1123" y="90"/>
                      <a:pt x="1123" y="90"/>
                    </a:cubicBezTo>
                    <a:cubicBezTo>
                      <a:pt x="1122" y="91"/>
                      <a:pt x="1122" y="91"/>
                      <a:pt x="1122" y="92"/>
                    </a:cubicBezTo>
                    <a:cubicBezTo>
                      <a:pt x="1122" y="92"/>
                      <a:pt x="1121" y="93"/>
                      <a:pt x="1121" y="93"/>
                    </a:cubicBezTo>
                    <a:cubicBezTo>
                      <a:pt x="1121" y="94"/>
                      <a:pt x="1120" y="94"/>
                      <a:pt x="1120" y="95"/>
                    </a:cubicBezTo>
                    <a:cubicBezTo>
                      <a:pt x="1120" y="95"/>
                      <a:pt x="1120" y="96"/>
                      <a:pt x="1119" y="96"/>
                    </a:cubicBezTo>
                    <a:cubicBezTo>
                      <a:pt x="1119" y="97"/>
                      <a:pt x="1119" y="97"/>
                      <a:pt x="1118" y="98"/>
                    </a:cubicBezTo>
                    <a:cubicBezTo>
                      <a:pt x="1118" y="98"/>
                      <a:pt x="1118" y="99"/>
                      <a:pt x="1118" y="99"/>
                    </a:cubicBezTo>
                    <a:cubicBezTo>
                      <a:pt x="1117" y="100"/>
                      <a:pt x="1117" y="100"/>
                      <a:pt x="1117" y="101"/>
                    </a:cubicBezTo>
                    <a:cubicBezTo>
                      <a:pt x="1116" y="101"/>
                      <a:pt x="1116" y="102"/>
                      <a:pt x="1116" y="102"/>
                    </a:cubicBezTo>
                    <a:cubicBezTo>
                      <a:pt x="1116" y="103"/>
                      <a:pt x="1115" y="103"/>
                      <a:pt x="1115" y="104"/>
                    </a:cubicBezTo>
                    <a:cubicBezTo>
                      <a:pt x="1115" y="104"/>
                      <a:pt x="1115" y="105"/>
                      <a:pt x="1114" y="105"/>
                    </a:cubicBezTo>
                    <a:cubicBezTo>
                      <a:pt x="1114" y="106"/>
                      <a:pt x="1114" y="106"/>
                      <a:pt x="1113" y="107"/>
                    </a:cubicBezTo>
                    <a:cubicBezTo>
                      <a:pt x="1113" y="107"/>
                      <a:pt x="1113" y="108"/>
                      <a:pt x="1113" y="108"/>
                    </a:cubicBezTo>
                    <a:cubicBezTo>
                      <a:pt x="1112" y="109"/>
                      <a:pt x="1112" y="110"/>
                      <a:pt x="1112" y="110"/>
                    </a:cubicBezTo>
                    <a:cubicBezTo>
                      <a:pt x="1111" y="111"/>
                      <a:pt x="1111" y="111"/>
                      <a:pt x="1111" y="111"/>
                    </a:cubicBezTo>
                    <a:cubicBezTo>
                      <a:pt x="1111" y="112"/>
                      <a:pt x="1110" y="113"/>
                      <a:pt x="1110" y="113"/>
                    </a:cubicBezTo>
                    <a:cubicBezTo>
                      <a:pt x="1110" y="114"/>
                      <a:pt x="1110" y="114"/>
                      <a:pt x="1109" y="114"/>
                    </a:cubicBezTo>
                    <a:cubicBezTo>
                      <a:pt x="1109" y="115"/>
                      <a:pt x="1109" y="116"/>
                      <a:pt x="1108" y="116"/>
                    </a:cubicBezTo>
                    <a:cubicBezTo>
                      <a:pt x="1108" y="117"/>
                      <a:pt x="1108" y="117"/>
                      <a:pt x="1108" y="117"/>
                    </a:cubicBezTo>
                    <a:cubicBezTo>
                      <a:pt x="1107" y="118"/>
                      <a:pt x="1107" y="119"/>
                      <a:pt x="1106" y="120"/>
                    </a:cubicBezTo>
                    <a:cubicBezTo>
                      <a:pt x="1106" y="120"/>
                      <a:pt x="1106" y="120"/>
                      <a:pt x="1106" y="120"/>
                    </a:cubicBezTo>
                    <a:cubicBezTo>
                      <a:pt x="1106" y="121"/>
                      <a:pt x="1105" y="122"/>
                      <a:pt x="1105" y="123"/>
                    </a:cubicBezTo>
                    <a:cubicBezTo>
                      <a:pt x="1105" y="123"/>
                      <a:pt x="1105" y="123"/>
                      <a:pt x="1105" y="123"/>
                    </a:cubicBezTo>
                    <a:cubicBezTo>
                      <a:pt x="1104" y="124"/>
                      <a:pt x="1104" y="125"/>
                      <a:pt x="1103" y="126"/>
                    </a:cubicBezTo>
                    <a:cubicBezTo>
                      <a:pt x="1103" y="126"/>
                      <a:pt x="1103" y="126"/>
                      <a:pt x="1103" y="126"/>
                    </a:cubicBezTo>
                    <a:cubicBezTo>
                      <a:pt x="1102" y="127"/>
                      <a:pt x="1102" y="128"/>
                      <a:pt x="1101" y="129"/>
                    </a:cubicBezTo>
                    <a:cubicBezTo>
                      <a:pt x="1101" y="129"/>
                      <a:pt x="1101" y="129"/>
                      <a:pt x="1101" y="129"/>
                    </a:cubicBezTo>
                    <a:cubicBezTo>
                      <a:pt x="1101" y="130"/>
                      <a:pt x="1100" y="131"/>
                      <a:pt x="1100" y="132"/>
                    </a:cubicBezTo>
                    <a:cubicBezTo>
                      <a:pt x="1100" y="132"/>
                      <a:pt x="1100" y="132"/>
                      <a:pt x="1100" y="132"/>
                    </a:cubicBezTo>
                    <a:cubicBezTo>
                      <a:pt x="1099" y="133"/>
                      <a:pt x="1098" y="134"/>
                      <a:pt x="1098" y="135"/>
                    </a:cubicBezTo>
                    <a:cubicBezTo>
                      <a:pt x="1098" y="135"/>
                      <a:pt x="1098" y="135"/>
                      <a:pt x="1098" y="135"/>
                    </a:cubicBezTo>
                    <a:cubicBezTo>
                      <a:pt x="1097" y="137"/>
                      <a:pt x="1096" y="138"/>
                      <a:pt x="1096" y="139"/>
                    </a:cubicBezTo>
                    <a:cubicBezTo>
                      <a:pt x="1095" y="140"/>
                      <a:pt x="1094" y="141"/>
                      <a:pt x="1094" y="142"/>
                    </a:cubicBezTo>
                    <a:cubicBezTo>
                      <a:pt x="1093" y="143"/>
                      <a:pt x="1093" y="145"/>
                      <a:pt x="1092" y="146"/>
                    </a:cubicBezTo>
                    <a:cubicBezTo>
                      <a:pt x="1092" y="147"/>
                      <a:pt x="1091" y="148"/>
                      <a:pt x="1090" y="149"/>
                    </a:cubicBezTo>
                    <a:cubicBezTo>
                      <a:pt x="1090" y="150"/>
                      <a:pt x="1089" y="151"/>
                      <a:pt x="1089" y="152"/>
                    </a:cubicBezTo>
                    <a:cubicBezTo>
                      <a:pt x="1088" y="153"/>
                      <a:pt x="1088" y="154"/>
                      <a:pt x="1087" y="155"/>
                    </a:cubicBezTo>
                    <a:cubicBezTo>
                      <a:pt x="1087" y="156"/>
                      <a:pt x="1086" y="157"/>
                      <a:pt x="1085" y="158"/>
                    </a:cubicBezTo>
                    <a:cubicBezTo>
                      <a:pt x="1085" y="159"/>
                      <a:pt x="1084" y="160"/>
                      <a:pt x="1084" y="161"/>
                    </a:cubicBezTo>
                    <a:cubicBezTo>
                      <a:pt x="1083" y="162"/>
                      <a:pt x="1083" y="163"/>
                      <a:pt x="1082" y="164"/>
                    </a:cubicBezTo>
                    <a:cubicBezTo>
                      <a:pt x="1081" y="165"/>
                      <a:pt x="1081" y="166"/>
                      <a:pt x="1080" y="167"/>
                    </a:cubicBezTo>
                    <a:cubicBezTo>
                      <a:pt x="1080" y="168"/>
                      <a:pt x="1079" y="169"/>
                      <a:pt x="1079" y="170"/>
                    </a:cubicBezTo>
                    <a:cubicBezTo>
                      <a:pt x="1078" y="171"/>
                      <a:pt x="1077" y="172"/>
                      <a:pt x="1077" y="173"/>
                    </a:cubicBezTo>
                    <a:cubicBezTo>
                      <a:pt x="1076" y="175"/>
                      <a:pt x="1076" y="176"/>
                      <a:pt x="1075" y="177"/>
                    </a:cubicBezTo>
                    <a:cubicBezTo>
                      <a:pt x="1075" y="178"/>
                      <a:pt x="1074" y="179"/>
                      <a:pt x="1073" y="180"/>
                    </a:cubicBezTo>
                    <a:cubicBezTo>
                      <a:pt x="1073" y="181"/>
                      <a:pt x="1072" y="182"/>
                      <a:pt x="1072" y="183"/>
                    </a:cubicBezTo>
                    <a:cubicBezTo>
                      <a:pt x="1071" y="184"/>
                      <a:pt x="1071" y="185"/>
                      <a:pt x="1070" y="186"/>
                    </a:cubicBezTo>
                    <a:cubicBezTo>
                      <a:pt x="1070" y="187"/>
                      <a:pt x="1069" y="188"/>
                      <a:pt x="1068" y="189"/>
                    </a:cubicBezTo>
                    <a:cubicBezTo>
                      <a:pt x="1068" y="190"/>
                      <a:pt x="1067" y="191"/>
                      <a:pt x="1067" y="192"/>
                    </a:cubicBezTo>
                    <a:cubicBezTo>
                      <a:pt x="1066" y="193"/>
                      <a:pt x="1066" y="194"/>
                      <a:pt x="1065" y="195"/>
                    </a:cubicBezTo>
                    <a:cubicBezTo>
                      <a:pt x="1064" y="196"/>
                      <a:pt x="1064" y="197"/>
                      <a:pt x="1063" y="198"/>
                    </a:cubicBezTo>
                    <a:cubicBezTo>
                      <a:pt x="1063" y="199"/>
                      <a:pt x="1062" y="200"/>
                      <a:pt x="1062" y="201"/>
                    </a:cubicBezTo>
                    <a:cubicBezTo>
                      <a:pt x="1061" y="202"/>
                      <a:pt x="1060" y="203"/>
                      <a:pt x="1060" y="204"/>
                    </a:cubicBezTo>
                    <a:cubicBezTo>
                      <a:pt x="1059" y="206"/>
                      <a:pt x="1059" y="207"/>
                      <a:pt x="1058" y="208"/>
                    </a:cubicBezTo>
                    <a:cubicBezTo>
                      <a:pt x="1058" y="209"/>
                      <a:pt x="1057" y="210"/>
                      <a:pt x="1057" y="211"/>
                    </a:cubicBezTo>
                    <a:cubicBezTo>
                      <a:pt x="1056" y="212"/>
                      <a:pt x="1055" y="213"/>
                      <a:pt x="1055" y="214"/>
                    </a:cubicBezTo>
                    <a:cubicBezTo>
                      <a:pt x="1054" y="215"/>
                      <a:pt x="1054" y="216"/>
                      <a:pt x="1053" y="217"/>
                    </a:cubicBezTo>
                    <a:cubicBezTo>
                      <a:pt x="1053" y="218"/>
                      <a:pt x="1052" y="219"/>
                      <a:pt x="1051" y="220"/>
                    </a:cubicBezTo>
                    <a:cubicBezTo>
                      <a:pt x="1051" y="221"/>
                      <a:pt x="1050" y="222"/>
                      <a:pt x="1050" y="223"/>
                    </a:cubicBezTo>
                    <a:cubicBezTo>
                      <a:pt x="1049" y="224"/>
                      <a:pt x="1049" y="225"/>
                      <a:pt x="1048" y="226"/>
                    </a:cubicBezTo>
                    <a:cubicBezTo>
                      <a:pt x="1048" y="227"/>
                      <a:pt x="1047" y="228"/>
                      <a:pt x="1046" y="229"/>
                    </a:cubicBezTo>
                    <a:cubicBezTo>
                      <a:pt x="1046" y="230"/>
                      <a:pt x="1045" y="231"/>
                      <a:pt x="1045" y="232"/>
                    </a:cubicBezTo>
                    <a:cubicBezTo>
                      <a:pt x="1044" y="233"/>
                      <a:pt x="1044" y="235"/>
                      <a:pt x="1043" y="236"/>
                    </a:cubicBezTo>
                    <a:cubicBezTo>
                      <a:pt x="1042" y="237"/>
                      <a:pt x="1041" y="239"/>
                      <a:pt x="1041" y="240"/>
                    </a:cubicBezTo>
                    <a:cubicBezTo>
                      <a:pt x="1040" y="241"/>
                      <a:pt x="1040" y="242"/>
                      <a:pt x="1039" y="243"/>
                    </a:cubicBezTo>
                    <a:cubicBezTo>
                      <a:pt x="1038" y="244"/>
                      <a:pt x="1038" y="245"/>
                      <a:pt x="1037" y="246"/>
                    </a:cubicBezTo>
                    <a:cubicBezTo>
                      <a:pt x="1037" y="247"/>
                      <a:pt x="1036" y="248"/>
                      <a:pt x="1036" y="249"/>
                    </a:cubicBezTo>
                    <a:cubicBezTo>
                      <a:pt x="1035" y="250"/>
                      <a:pt x="1034" y="251"/>
                      <a:pt x="1034" y="252"/>
                    </a:cubicBezTo>
                    <a:cubicBezTo>
                      <a:pt x="1033" y="253"/>
                      <a:pt x="1033" y="255"/>
                      <a:pt x="1032" y="256"/>
                    </a:cubicBezTo>
                    <a:cubicBezTo>
                      <a:pt x="1032" y="257"/>
                      <a:pt x="1031" y="258"/>
                      <a:pt x="1030" y="259"/>
                    </a:cubicBezTo>
                    <a:cubicBezTo>
                      <a:pt x="1030" y="260"/>
                      <a:pt x="1029" y="261"/>
                      <a:pt x="1029" y="262"/>
                    </a:cubicBezTo>
                    <a:cubicBezTo>
                      <a:pt x="1028" y="263"/>
                      <a:pt x="1028" y="264"/>
                      <a:pt x="1027" y="265"/>
                    </a:cubicBezTo>
                    <a:cubicBezTo>
                      <a:pt x="1027" y="266"/>
                      <a:pt x="1026" y="267"/>
                      <a:pt x="1025" y="268"/>
                    </a:cubicBezTo>
                    <a:cubicBezTo>
                      <a:pt x="1025" y="269"/>
                      <a:pt x="1024" y="270"/>
                      <a:pt x="1024" y="271"/>
                    </a:cubicBezTo>
                    <a:cubicBezTo>
                      <a:pt x="1023" y="272"/>
                      <a:pt x="1023" y="273"/>
                      <a:pt x="1022" y="274"/>
                    </a:cubicBezTo>
                    <a:cubicBezTo>
                      <a:pt x="1022" y="275"/>
                      <a:pt x="1021" y="276"/>
                      <a:pt x="1020" y="277"/>
                    </a:cubicBezTo>
                    <a:cubicBezTo>
                      <a:pt x="1020" y="278"/>
                      <a:pt x="1019" y="279"/>
                      <a:pt x="1019" y="280"/>
                    </a:cubicBezTo>
                    <a:cubicBezTo>
                      <a:pt x="1018" y="281"/>
                      <a:pt x="1018" y="282"/>
                      <a:pt x="1017" y="284"/>
                    </a:cubicBezTo>
                    <a:cubicBezTo>
                      <a:pt x="1016" y="285"/>
                      <a:pt x="1016" y="286"/>
                      <a:pt x="1015" y="287"/>
                    </a:cubicBezTo>
                    <a:cubicBezTo>
                      <a:pt x="1015" y="288"/>
                      <a:pt x="1014" y="289"/>
                      <a:pt x="1014" y="290"/>
                    </a:cubicBezTo>
                    <a:cubicBezTo>
                      <a:pt x="1013" y="291"/>
                      <a:pt x="1013" y="292"/>
                      <a:pt x="1012" y="293"/>
                    </a:cubicBezTo>
                    <a:cubicBezTo>
                      <a:pt x="1011" y="294"/>
                      <a:pt x="1011" y="295"/>
                      <a:pt x="1010" y="296"/>
                    </a:cubicBezTo>
                    <a:cubicBezTo>
                      <a:pt x="1010" y="297"/>
                      <a:pt x="1009" y="298"/>
                      <a:pt x="1009" y="299"/>
                    </a:cubicBezTo>
                    <a:cubicBezTo>
                      <a:pt x="1008" y="300"/>
                      <a:pt x="1008" y="301"/>
                      <a:pt x="1007" y="302"/>
                    </a:cubicBezTo>
                    <a:cubicBezTo>
                      <a:pt x="1006" y="303"/>
                      <a:pt x="1006" y="304"/>
                      <a:pt x="1005" y="305"/>
                    </a:cubicBezTo>
                    <a:cubicBezTo>
                      <a:pt x="1005" y="306"/>
                      <a:pt x="1004" y="307"/>
                      <a:pt x="1004" y="308"/>
                    </a:cubicBezTo>
                    <a:cubicBezTo>
                      <a:pt x="1003" y="309"/>
                      <a:pt x="1002" y="310"/>
                      <a:pt x="1002" y="311"/>
                    </a:cubicBezTo>
                    <a:cubicBezTo>
                      <a:pt x="1001" y="313"/>
                      <a:pt x="1001" y="314"/>
                      <a:pt x="1000" y="315"/>
                    </a:cubicBezTo>
                    <a:cubicBezTo>
                      <a:pt x="1000" y="316"/>
                      <a:pt x="999" y="317"/>
                      <a:pt x="999" y="318"/>
                    </a:cubicBezTo>
                    <a:cubicBezTo>
                      <a:pt x="998" y="319"/>
                      <a:pt x="997" y="320"/>
                      <a:pt x="997" y="321"/>
                    </a:cubicBezTo>
                    <a:cubicBezTo>
                      <a:pt x="996" y="322"/>
                      <a:pt x="996" y="323"/>
                      <a:pt x="995" y="324"/>
                    </a:cubicBezTo>
                    <a:cubicBezTo>
                      <a:pt x="995" y="325"/>
                      <a:pt x="994" y="326"/>
                      <a:pt x="994" y="327"/>
                    </a:cubicBezTo>
                    <a:cubicBezTo>
                      <a:pt x="993" y="328"/>
                      <a:pt x="992" y="329"/>
                      <a:pt x="992" y="330"/>
                    </a:cubicBezTo>
                    <a:cubicBezTo>
                      <a:pt x="991" y="331"/>
                      <a:pt x="991" y="332"/>
                      <a:pt x="990" y="333"/>
                    </a:cubicBezTo>
                    <a:cubicBezTo>
                      <a:pt x="990" y="334"/>
                      <a:pt x="989" y="335"/>
                      <a:pt x="988" y="336"/>
                    </a:cubicBezTo>
                    <a:cubicBezTo>
                      <a:pt x="988" y="337"/>
                      <a:pt x="987" y="338"/>
                      <a:pt x="987" y="339"/>
                    </a:cubicBezTo>
                    <a:cubicBezTo>
                      <a:pt x="986" y="341"/>
                      <a:pt x="986" y="342"/>
                      <a:pt x="985" y="343"/>
                    </a:cubicBezTo>
                    <a:cubicBezTo>
                      <a:pt x="985" y="344"/>
                      <a:pt x="984" y="345"/>
                      <a:pt x="983" y="346"/>
                    </a:cubicBezTo>
                    <a:cubicBezTo>
                      <a:pt x="983" y="347"/>
                      <a:pt x="982" y="348"/>
                      <a:pt x="982" y="349"/>
                    </a:cubicBezTo>
                    <a:cubicBezTo>
                      <a:pt x="981" y="350"/>
                      <a:pt x="980" y="352"/>
                      <a:pt x="979" y="353"/>
                    </a:cubicBezTo>
                    <a:cubicBezTo>
                      <a:pt x="979" y="354"/>
                      <a:pt x="978" y="356"/>
                      <a:pt x="978" y="357"/>
                    </a:cubicBezTo>
                    <a:cubicBezTo>
                      <a:pt x="977" y="358"/>
                      <a:pt x="977" y="359"/>
                      <a:pt x="976" y="360"/>
                    </a:cubicBezTo>
                    <a:cubicBezTo>
                      <a:pt x="975" y="361"/>
                      <a:pt x="975" y="362"/>
                      <a:pt x="974" y="363"/>
                    </a:cubicBezTo>
                    <a:cubicBezTo>
                      <a:pt x="974" y="364"/>
                      <a:pt x="973" y="365"/>
                      <a:pt x="973" y="366"/>
                    </a:cubicBezTo>
                    <a:cubicBezTo>
                      <a:pt x="972" y="367"/>
                      <a:pt x="972" y="368"/>
                      <a:pt x="971" y="369"/>
                    </a:cubicBezTo>
                    <a:cubicBezTo>
                      <a:pt x="970" y="370"/>
                      <a:pt x="970" y="371"/>
                      <a:pt x="969" y="372"/>
                    </a:cubicBezTo>
                    <a:cubicBezTo>
                      <a:pt x="969" y="373"/>
                      <a:pt x="968" y="374"/>
                      <a:pt x="968" y="375"/>
                    </a:cubicBezTo>
                    <a:cubicBezTo>
                      <a:pt x="967" y="376"/>
                      <a:pt x="966" y="377"/>
                      <a:pt x="966" y="378"/>
                    </a:cubicBezTo>
                    <a:cubicBezTo>
                      <a:pt x="965" y="379"/>
                      <a:pt x="965" y="381"/>
                      <a:pt x="964" y="382"/>
                    </a:cubicBezTo>
                    <a:cubicBezTo>
                      <a:pt x="964" y="383"/>
                      <a:pt x="963" y="384"/>
                      <a:pt x="963" y="385"/>
                    </a:cubicBezTo>
                    <a:cubicBezTo>
                      <a:pt x="962" y="386"/>
                      <a:pt x="961" y="387"/>
                      <a:pt x="961" y="388"/>
                    </a:cubicBezTo>
                    <a:cubicBezTo>
                      <a:pt x="960" y="389"/>
                      <a:pt x="960" y="390"/>
                      <a:pt x="959" y="391"/>
                    </a:cubicBezTo>
                    <a:cubicBezTo>
                      <a:pt x="959" y="392"/>
                      <a:pt x="958" y="393"/>
                      <a:pt x="958" y="394"/>
                    </a:cubicBezTo>
                    <a:cubicBezTo>
                      <a:pt x="957" y="395"/>
                      <a:pt x="956" y="396"/>
                      <a:pt x="956" y="397"/>
                    </a:cubicBezTo>
                    <a:cubicBezTo>
                      <a:pt x="955" y="398"/>
                      <a:pt x="955" y="399"/>
                      <a:pt x="954" y="400"/>
                    </a:cubicBezTo>
                    <a:cubicBezTo>
                      <a:pt x="954" y="401"/>
                      <a:pt x="953" y="402"/>
                      <a:pt x="953" y="403"/>
                    </a:cubicBezTo>
                    <a:cubicBezTo>
                      <a:pt x="952" y="404"/>
                      <a:pt x="951" y="405"/>
                      <a:pt x="951" y="406"/>
                    </a:cubicBezTo>
                    <a:cubicBezTo>
                      <a:pt x="950" y="408"/>
                      <a:pt x="950" y="409"/>
                      <a:pt x="949" y="410"/>
                    </a:cubicBezTo>
                    <a:cubicBezTo>
                      <a:pt x="949" y="411"/>
                      <a:pt x="948" y="412"/>
                      <a:pt x="948" y="413"/>
                    </a:cubicBezTo>
                    <a:cubicBezTo>
                      <a:pt x="947" y="414"/>
                      <a:pt x="946" y="415"/>
                      <a:pt x="946" y="416"/>
                    </a:cubicBezTo>
                    <a:cubicBezTo>
                      <a:pt x="945" y="417"/>
                      <a:pt x="945" y="418"/>
                      <a:pt x="944" y="419"/>
                    </a:cubicBezTo>
                    <a:cubicBezTo>
                      <a:pt x="944" y="420"/>
                      <a:pt x="943" y="421"/>
                      <a:pt x="943" y="422"/>
                    </a:cubicBezTo>
                    <a:cubicBezTo>
                      <a:pt x="942" y="423"/>
                      <a:pt x="941" y="424"/>
                      <a:pt x="941" y="425"/>
                    </a:cubicBezTo>
                    <a:cubicBezTo>
                      <a:pt x="940" y="426"/>
                      <a:pt x="940" y="427"/>
                      <a:pt x="939" y="428"/>
                    </a:cubicBezTo>
                    <a:cubicBezTo>
                      <a:pt x="939" y="429"/>
                      <a:pt x="938" y="430"/>
                      <a:pt x="938" y="431"/>
                    </a:cubicBezTo>
                    <a:cubicBezTo>
                      <a:pt x="937" y="432"/>
                      <a:pt x="936" y="433"/>
                      <a:pt x="936" y="434"/>
                    </a:cubicBezTo>
                    <a:cubicBezTo>
                      <a:pt x="935" y="436"/>
                      <a:pt x="935" y="437"/>
                      <a:pt x="934" y="438"/>
                    </a:cubicBezTo>
                    <a:cubicBezTo>
                      <a:pt x="934" y="439"/>
                      <a:pt x="933" y="440"/>
                      <a:pt x="933" y="441"/>
                    </a:cubicBezTo>
                    <a:cubicBezTo>
                      <a:pt x="932" y="442"/>
                      <a:pt x="931" y="443"/>
                      <a:pt x="931" y="444"/>
                    </a:cubicBezTo>
                    <a:cubicBezTo>
                      <a:pt x="930" y="445"/>
                      <a:pt x="930" y="446"/>
                      <a:pt x="929" y="447"/>
                    </a:cubicBezTo>
                    <a:cubicBezTo>
                      <a:pt x="929" y="448"/>
                      <a:pt x="928" y="449"/>
                      <a:pt x="928" y="450"/>
                    </a:cubicBezTo>
                    <a:cubicBezTo>
                      <a:pt x="927" y="451"/>
                      <a:pt x="926" y="452"/>
                      <a:pt x="926" y="453"/>
                    </a:cubicBezTo>
                    <a:cubicBezTo>
                      <a:pt x="925" y="454"/>
                      <a:pt x="925" y="455"/>
                      <a:pt x="924" y="456"/>
                    </a:cubicBezTo>
                    <a:cubicBezTo>
                      <a:pt x="924" y="457"/>
                      <a:pt x="923" y="458"/>
                      <a:pt x="923" y="459"/>
                    </a:cubicBezTo>
                    <a:cubicBezTo>
                      <a:pt x="922" y="460"/>
                      <a:pt x="921" y="461"/>
                      <a:pt x="921" y="462"/>
                    </a:cubicBezTo>
                    <a:cubicBezTo>
                      <a:pt x="920" y="464"/>
                      <a:pt x="920" y="465"/>
                      <a:pt x="919" y="466"/>
                    </a:cubicBezTo>
                    <a:cubicBezTo>
                      <a:pt x="919" y="467"/>
                      <a:pt x="918" y="468"/>
                      <a:pt x="918" y="469"/>
                    </a:cubicBezTo>
                    <a:cubicBezTo>
                      <a:pt x="917" y="470"/>
                      <a:pt x="917" y="471"/>
                      <a:pt x="916" y="472"/>
                    </a:cubicBezTo>
                    <a:cubicBezTo>
                      <a:pt x="915" y="473"/>
                      <a:pt x="915" y="474"/>
                      <a:pt x="914" y="475"/>
                    </a:cubicBezTo>
                    <a:cubicBezTo>
                      <a:pt x="914" y="476"/>
                      <a:pt x="913" y="477"/>
                      <a:pt x="913" y="478"/>
                    </a:cubicBezTo>
                    <a:cubicBezTo>
                      <a:pt x="912" y="479"/>
                      <a:pt x="912" y="480"/>
                      <a:pt x="911" y="481"/>
                    </a:cubicBezTo>
                    <a:cubicBezTo>
                      <a:pt x="910" y="483"/>
                      <a:pt x="909" y="485"/>
                      <a:pt x="908" y="486"/>
                    </a:cubicBezTo>
                    <a:cubicBezTo>
                      <a:pt x="908" y="487"/>
                      <a:pt x="907" y="488"/>
                      <a:pt x="907" y="489"/>
                    </a:cubicBezTo>
                    <a:cubicBezTo>
                      <a:pt x="906" y="490"/>
                      <a:pt x="906" y="491"/>
                      <a:pt x="905" y="492"/>
                    </a:cubicBezTo>
                    <a:cubicBezTo>
                      <a:pt x="904" y="494"/>
                      <a:pt x="904" y="495"/>
                      <a:pt x="903" y="496"/>
                    </a:cubicBezTo>
                    <a:cubicBezTo>
                      <a:pt x="903" y="497"/>
                      <a:pt x="902" y="498"/>
                      <a:pt x="902" y="499"/>
                    </a:cubicBezTo>
                    <a:cubicBezTo>
                      <a:pt x="901" y="500"/>
                      <a:pt x="901" y="501"/>
                      <a:pt x="900" y="502"/>
                    </a:cubicBezTo>
                    <a:cubicBezTo>
                      <a:pt x="899" y="503"/>
                      <a:pt x="899" y="504"/>
                      <a:pt x="898" y="505"/>
                    </a:cubicBezTo>
                    <a:cubicBezTo>
                      <a:pt x="898" y="506"/>
                      <a:pt x="897" y="507"/>
                      <a:pt x="897" y="508"/>
                    </a:cubicBezTo>
                    <a:cubicBezTo>
                      <a:pt x="896" y="509"/>
                      <a:pt x="896" y="510"/>
                      <a:pt x="895" y="511"/>
                    </a:cubicBezTo>
                    <a:cubicBezTo>
                      <a:pt x="894" y="512"/>
                      <a:pt x="894" y="513"/>
                      <a:pt x="893" y="514"/>
                    </a:cubicBezTo>
                    <a:cubicBezTo>
                      <a:pt x="893" y="515"/>
                      <a:pt x="892" y="516"/>
                      <a:pt x="892" y="517"/>
                    </a:cubicBezTo>
                    <a:cubicBezTo>
                      <a:pt x="891" y="518"/>
                      <a:pt x="891" y="520"/>
                      <a:pt x="890" y="521"/>
                    </a:cubicBezTo>
                    <a:cubicBezTo>
                      <a:pt x="889" y="522"/>
                      <a:pt x="889" y="523"/>
                      <a:pt x="888" y="524"/>
                    </a:cubicBezTo>
                    <a:cubicBezTo>
                      <a:pt x="888" y="525"/>
                      <a:pt x="887" y="526"/>
                      <a:pt x="887" y="527"/>
                    </a:cubicBezTo>
                    <a:cubicBezTo>
                      <a:pt x="886" y="528"/>
                      <a:pt x="886" y="529"/>
                      <a:pt x="885" y="530"/>
                    </a:cubicBezTo>
                    <a:cubicBezTo>
                      <a:pt x="885" y="531"/>
                      <a:pt x="884" y="532"/>
                      <a:pt x="883" y="533"/>
                    </a:cubicBezTo>
                    <a:cubicBezTo>
                      <a:pt x="883" y="534"/>
                      <a:pt x="882" y="535"/>
                      <a:pt x="882" y="536"/>
                    </a:cubicBezTo>
                    <a:cubicBezTo>
                      <a:pt x="881" y="537"/>
                      <a:pt x="881" y="538"/>
                      <a:pt x="880" y="539"/>
                    </a:cubicBezTo>
                    <a:cubicBezTo>
                      <a:pt x="880" y="540"/>
                      <a:pt x="879" y="541"/>
                      <a:pt x="878" y="542"/>
                    </a:cubicBezTo>
                    <a:cubicBezTo>
                      <a:pt x="878" y="543"/>
                      <a:pt x="877" y="544"/>
                      <a:pt x="877" y="546"/>
                    </a:cubicBezTo>
                    <a:cubicBezTo>
                      <a:pt x="876" y="547"/>
                      <a:pt x="876" y="548"/>
                      <a:pt x="875" y="549"/>
                    </a:cubicBezTo>
                    <a:cubicBezTo>
                      <a:pt x="875" y="550"/>
                      <a:pt x="874" y="551"/>
                      <a:pt x="873" y="552"/>
                    </a:cubicBezTo>
                    <a:cubicBezTo>
                      <a:pt x="873" y="553"/>
                      <a:pt x="872" y="554"/>
                      <a:pt x="872" y="555"/>
                    </a:cubicBezTo>
                    <a:cubicBezTo>
                      <a:pt x="871" y="556"/>
                      <a:pt x="871" y="557"/>
                      <a:pt x="870" y="558"/>
                    </a:cubicBezTo>
                    <a:cubicBezTo>
                      <a:pt x="870" y="559"/>
                      <a:pt x="869" y="560"/>
                      <a:pt x="868" y="561"/>
                    </a:cubicBezTo>
                    <a:cubicBezTo>
                      <a:pt x="868" y="562"/>
                      <a:pt x="867" y="563"/>
                      <a:pt x="867" y="564"/>
                    </a:cubicBezTo>
                    <a:cubicBezTo>
                      <a:pt x="866" y="565"/>
                      <a:pt x="866" y="566"/>
                      <a:pt x="865" y="567"/>
                    </a:cubicBezTo>
                    <a:cubicBezTo>
                      <a:pt x="865" y="568"/>
                      <a:pt x="864" y="569"/>
                      <a:pt x="864" y="570"/>
                    </a:cubicBezTo>
                    <a:cubicBezTo>
                      <a:pt x="863" y="572"/>
                      <a:pt x="862" y="573"/>
                      <a:pt x="862" y="574"/>
                    </a:cubicBezTo>
                    <a:cubicBezTo>
                      <a:pt x="861" y="575"/>
                      <a:pt x="861" y="576"/>
                      <a:pt x="860" y="577"/>
                    </a:cubicBezTo>
                    <a:cubicBezTo>
                      <a:pt x="860" y="578"/>
                      <a:pt x="859" y="579"/>
                      <a:pt x="859" y="580"/>
                    </a:cubicBezTo>
                    <a:cubicBezTo>
                      <a:pt x="858" y="581"/>
                      <a:pt x="857" y="582"/>
                      <a:pt x="857" y="583"/>
                    </a:cubicBezTo>
                    <a:cubicBezTo>
                      <a:pt x="856" y="584"/>
                      <a:pt x="856" y="585"/>
                      <a:pt x="855" y="586"/>
                    </a:cubicBezTo>
                    <a:cubicBezTo>
                      <a:pt x="855" y="587"/>
                      <a:pt x="854" y="588"/>
                      <a:pt x="854" y="589"/>
                    </a:cubicBezTo>
                    <a:cubicBezTo>
                      <a:pt x="853" y="590"/>
                      <a:pt x="853" y="591"/>
                      <a:pt x="852" y="592"/>
                    </a:cubicBezTo>
                    <a:cubicBezTo>
                      <a:pt x="851" y="593"/>
                      <a:pt x="851" y="594"/>
                      <a:pt x="850" y="595"/>
                    </a:cubicBezTo>
                    <a:cubicBezTo>
                      <a:pt x="850" y="596"/>
                      <a:pt x="849" y="598"/>
                      <a:pt x="849" y="599"/>
                    </a:cubicBezTo>
                    <a:cubicBezTo>
                      <a:pt x="848" y="600"/>
                      <a:pt x="848" y="601"/>
                      <a:pt x="847" y="602"/>
                    </a:cubicBezTo>
                    <a:cubicBezTo>
                      <a:pt x="846" y="603"/>
                      <a:pt x="846" y="604"/>
                      <a:pt x="845" y="605"/>
                    </a:cubicBezTo>
                    <a:cubicBezTo>
                      <a:pt x="845" y="606"/>
                      <a:pt x="844" y="607"/>
                      <a:pt x="844" y="608"/>
                    </a:cubicBezTo>
                    <a:cubicBezTo>
                      <a:pt x="843" y="609"/>
                      <a:pt x="843" y="610"/>
                      <a:pt x="842" y="611"/>
                    </a:cubicBezTo>
                    <a:cubicBezTo>
                      <a:pt x="842" y="612"/>
                      <a:pt x="841" y="613"/>
                      <a:pt x="840" y="614"/>
                    </a:cubicBezTo>
                    <a:cubicBezTo>
                      <a:pt x="840" y="615"/>
                      <a:pt x="839" y="616"/>
                      <a:pt x="839" y="617"/>
                    </a:cubicBezTo>
                    <a:cubicBezTo>
                      <a:pt x="838" y="618"/>
                      <a:pt x="838" y="619"/>
                      <a:pt x="837" y="620"/>
                    </a:cubicBezTo>
                    <a:cubicBezTo>
                      <a:pt x="837" y="621"/>
                      <a:pt x="836" y="622"/>
                      <a:pt x="835" y="623"/>
                    </a:cubicBezTo>
                    <a:cubicBezTo>
                      <a:pt x="835" y="625"/>
                      <a:pt x="834" y="626"/>
                      <a:pt x="834" y="627"/>
                    </a:cubicBezTo>
                    <a:cubicBezTo>
                      <a:pt x="833" y="628"/>
                      <a:pt x="833" y="629"/>
                      <a:pt x="832" y="630"/>
                    </a:cubicBezTo>
                    <a:cubicBezTo>
                      <a:pt x="832" y="631"/>
                      <a:pt x="831" y="632"/>
                      <a:pt x="831" y="633"/>
                    </a:cubicBezTo>
                    <a:cubicBezTo>
                      <a:pt x="830" y="634"/>
                      <a:pt x="829" y="635"/>
                      <a:pt x="829" y="636"/>
                    </a:cubicBezTo>
                    <a:cubicBezTo>
                      <a:pt x="828" y="637"/>
                      <a:pt x="828" y="638"/>
                      <a:pt x="827" y="639"/>
                    </a:cubicBezTo>
                    <a:cubicBezTo>
                      <a:pt x="826" y="641"/>
                      <a:pt x="825" y="643"/>
                      <a:pt x="824" y="645"/>
                    </a:cubicBezTo>
                    <a:cubicBezTo>
                      <a:pt x="824" y="646"/>
                      <a:pt x="823" y="647"/>
                      <a:pt x="823" y="648"/>
                    </a:cubicBezTo>
                    <a:cubicBezTo>
                      <a:pt x="822" y="649"/>
                      <a:pt x="822" y="650"/>
                      <a:pt x="821" y="651"/>
                    </a:cubicBezTo>
                    <a:cubicBezTo>
                      <a:pt x="820" y="652"/>
                      <a:pt x="820" y="653"/>
                      <a:pt x="819" y="654"/>
                    </a:cubicBezTo>
                    <a:cubicBezTo>
                      <a:pt x="819" y="655"/>
                      <a:pt x="818" y="656"/>
                      <a:pt x="818" y="657"/>
                    </a:cubicBezTo>
                    <a:cubicBezTo>
                      <a:pt x="817" y="658"/>
                      <a:pt x="817" y="659"/>
                      <a:pt x="816" y="660"/>
                    </a:cubicBezTo>
                    <a:cubicBezTo>
                      <a:pt x="816" y="661"/>
                      <a:pt x="815" y="662"/>
                      <a:pt x="814" y="663"/>
                    </a:cubicBezTo>
                    <a:cubicBezTo>
                      <a:pt x="814" y="664"/>
                      <a:pt x="813" y="666"/>
                      <a:pt x="813" y="667"/>
                    </a:cubicBezTo>
                    <a:cubicBezTo>
                      <a:pt x="812" y="668"/>
                      <a:pt x="812" y="669"/>
                      <a:pt x="811" y="670"/>
                    </a:cubicBezTo>
                    <a:cubicBezTo>
                      <a:pt x="811" y="671"/>
                      <a:pt x="810" y="672"/>
                      <a:pt x="809" y="673"/>
                    </a:cubicBezTo>
                    <a:cubicBezTo>
                      <a:pt x="809" y="674"/>
                      <a:pt x="808" y="675"/>
                      <a:pt x="808" y="676"/>
                    </a:cubicBezTo>
                    <a:cubicBezTo>
                      <a:pt x="807" y="677"/>
                      <a:pt x="807" y="678"/>
                      <a:pt x="806" y="679"/>
                    </a:cubicBezTo>
                    <a:cubicBezTo>
                      <a:pt x="806" y="680"/>
                      <a:pt x="805" y="681"/>
                      <a:pt x="805" y="682"/>
                    </a:cubicBezTo>
                    <a:cubicBezTo>
                      <a:pt x="804" y="683"/>
                      <a:pt x="803" y="684"/>
                      <a:pt x="803" y="685"/>
                    </a:cubicBezTo>
                    <a:cubicBezTo>
                      <a:pt x="802" y="686"/>
                      <a:pt x="802" y="687"/>
                      <a:pt x="801" y="688"/>
                    </a:cubicBezTo>
                    <a:cubicBezTo>
                      <a:pt x="801" y="689"/>
                      <a:pt x="800" y="691"/>
                      <a:pt x="800" y="692"/>
                    </a:cubicBezTo>
                    <a:cubicBezTo>
                      <a:pt x="799" y="693"/>
                      <a:pt x="798" y="694"/>
                      <a:pt x="798" y="695"/>
                    </a:cubicBezTo>
                    <a:cubicBezTo>
                      <a:pt x="797" y="696"/>
                      <a:pt x="797" y="697"/>
                      <a:pt x="796" y="698"/>
                    </a:cubicBezTo>
                    <a:cubicBezTo>
                      <a:pt x="796" y="699"/>
                      <a:pt x="795" y="700"/>
                      <a:pt x="795" y="701"/>
                    </a:cubicBezTo>
                    <a:cubicBezTo>
                      <a:pt x="794" y="702"/>
                      <a:pt x="794" y="703"/>
                      <a:pt x="793" y="704"/>
                    </a:cubicBezTo>
                    <a:cubicBezTo>
                      <a:pt x="792" y="705"/>
                      <a:pt x="792" y="706"/>
                      <a:pt x="791" y="707"/>
                    </a:cubicBezTo>
                    <a:cubicBezTo>
                      <a:pt x="780" y="729"/>
                      <a:pt x="757" y="745"/>
                      <a:pt x="731" y="745"/>
                    </a:cubicBezTo>
                    <a:cubicBezTo>
                      <a:pt x="694" y="745"/>
                      <a:pt x="663" y="714"/>
                      <a:pt x="663" y="677"/>
                    </a:cubicBezTo>
                    <a:cubicBezTo>
                      <a:pt x="663" y="663"/>
                      <a:pt x="668" y="650"/>
                      <a:pt x="675" y="639"/>
                    </a:cubicBezTo>
                    <a:cubicBezTo>
                      <a:pt x="676" y="638"/>
                      <a:pt x="677" y="637"/>
                      <a:pt x="677" y="636"/>
                    </a:cubicBezTo>
                    <a:cubicBezTo>
                      <a:pt x="678" y="635"/>
                      <a:pt x="679" y="634"/>
                      <a:pt x="679" y="633"/>
                    </a:cubicBezTo>
                    <a:cubicBezTo>
                      <a:pt x="680" y="632"/>
                      <a:pt x="681" y="631"/>
                      <a:pt x="681" y="630"/>
                    </a:cubicBezTo>
                    <a:cubicBezTo>
                      <a:pt x="682" y="629"/>
                      <a:pt x="682" y="627"/>
                      <a:pt x="683" y="626"/>
                    </a:cubicBezTo>
                    <a:cubicBezTo>
                      <a:pt x="684" y="625"/>
                      <a:pt x="684" y="624"/>
                      <a:pt x="685" y="623"/>
                    </a:cubicBezTo>
                    <a:cubicBezTo>
                      <a:pt x="686" y="622"/>
                      <a:pt x="686" y="621"/>
                      <a:pt x="687" y="620"/>
                    </a:cubicBezTo>
                    <a:cubicBezTo>
                      <a:pt x="688" y="619"/>
                      <a:pt x="688" y="618"/>
                      <a:pt x="689" y="617"/>
                    </a:cubicBezTo>
                    <a:cubicBezTo>
                      <a:pt x="690" y="616"/>
                      <a:pt x="690" y="615"/>
                      <a:pt x="691" y="614"/>
                    </a:cubicBezTo>
                    <a:cubicBezTo>
                      <a:pt x="691" y="614"/>
                      <a:pt x="691" y="614"/>
                      <a:pt x="691" y="613"/>
                    </a:cubicBezTo>
                    <a:cubicBezTo>
                      <a:pt x="692" y="613"/>
                      <a:pt x="692" y="612"/>
                      <a:pt x="692" y="612"/>
                    </a:cubicBezTo>
                    <a:cubicBezTo>
                      <a:pt x="692" y="612"/>
                      <a:pt x="693" y="611"/>
                      <a:pt x="693" y="611"/>
                    </a:cubicBezTo>
                    <a:cubicBezTo>
                      <a:pt x="693" y="611"/>
                      <a:pt x="693" y="611"/>
                      <a:pt x="693" y="610"/>
                    </a:cubicBezTo>
                    <a:cubicBezTo>
                      <a:pt x="694" y="609"/>
                      <a:pt x="695" y="608"/>
                      <a:pt x="695" y="607"/>
                    </a:cubicBezTo>
                    <a:cubicBezTo>
                      <a:pt x="696" y="606"/>
                      <a:pt x="697" y="605"/>
                      <a:pt x="697" y="604"/>
                    </a:cubicBezTo>
                    <a:cubicBezTo>
                      <a:pt x="698" y="603"/>
                      <a:pt x="698" y="602"/>
                      <a:pt x="699" y="601"/>
                    </a:cubicBezTo>
                    <a:cubicBezTo>
                      <a:pt x="700" y="600"/>
                      <a:pt x="700" y="599"/>
                      <a:pt x="701" y="598"/>
                    </a:cubicBezTo>
                    <a:cubicBezTo>
                      <a:pt x="702" y="597"/>
                      <a:pt x="702" y="596"/>
                      <a:pt x="703" y="595"/>
                    </a:cubicBezTo>
                    <a:cubicBezTo>
                      <a:pt x="704" y="594"/>
                      <a:pt x="704" y="593"/>
                      <a:pt x="705" y="592"/>
                    </a:cubicBezTo>
                    <a:cubicBezTo>
                      <a:pt x="706" y="591"/>
                      <a:pt x="706" y="590"/>
                      <a:pt x="707" y="589"/>
                    </a:cubicBezTo>
                    <a:cubicBezTo>
                      <a:pt x="707" y="588"/>
                      <a:pt x="708" y="587"/>
                      <a:pt x="709" y="586"/>
                    </a:cubicBezTo>
                    <a:cubicBezTo>
                      <a:pt x="709" y="585"/>
                      <a:pt x="710" y="584"/>
                      <a:pt x="711" y="583"/>
                    </a:cubicBezTo>
                    <a:cubicBezTo>
                      <a:pt x="711" y="582"/>
                      <a:pt x="712" y="581"/>
                      <a:pt x="713" y="580"/>
                    </a:cubicBezTo>
                    <a:cubicBezTo>
                      <a:pt x="713" y="579"/>
                      <a:pt x="714" y="578"/>
                      <a:pt x="715" y="577"/>
                    </a:cubicBezTo>
                    <a:cubicBezTo>
                      <a:pt x="715" y="575"/>
                      <a:pt x="716" y="574"/>
                      <a:pt x="717" y="573"/>
                    </a:cubicBezTo>
                    <a:cubicBezTo>
                      <a:pt x="717" y="572"/>
                      <a:pt x="718" y="571"/>
                      <a:pt x="718" y="570"/>
                    </a:cubicBezTo>
                    <a:cubicBezTo>
                      <a:pt x="719" y="569"/>
                      <a:pt x="720" y="568"/>
                      <a:pt x="720" y="567"/>
                    </a:cubicBezTo>
                    <a:cubicBezTo>
                      <a:pt x="721" y="566"/>
                      <a:pt x="722" y="565"/>
                      <a:pt x="722" y="564"/>
                    </a:cubicBezTo>
                    <a:cubicBezTo>
                      <a:pt x="723" y="563"/>
                      <a:pt x="724" y="562"/>
                      <a:pt x="724" y="561"/>
                    </a:cubicBezTo>
                    <a:cubicBezTo>
                      <a:pt x="725" y="560"/>
                      <a:pt x="726" y="559"/>
                      <a:pt x="726" y="558"/>
                    </a:cubicBezTo>
                    <a:cubicBezTo>
                      <a:pt x="727" y="557"/>
                      <a:pt x="727" y="556"/>
                      <a:pt x="728" y="555"/>
                    </a:cubicBezTo>
                    <a:cubicBezTo>
                      <a:pt x="729" y="554"/>
                      <a:pt x="729" y="553"/>
                      <a:pt x="730" y="552"/>
                    </a:cubicBezTo>
                    <a:cubicBezTo>
                      <a:pt x="731" y="551"/>
                      <a:pt x="731" y="550"/>
                      <a:pt x="732" y="549"/>
                    </a:cubicBezTo>
                    <a:cubicBezTo>
                      <a:pt x="733" y="548"/>
                      <a:pt x="733" y="547"/>
                      <a:pt x="734" y="546"/>
                    </a:cubicBezTo>
                    <a:cubicBezTo>
                      <a:pt x="735" y="545"/>
                      <a:pt x="735" y="544"/>
                      <a:pt x="736" y="543"/>
                    </a:cubicBezTo>
                    <a:cubicBezTo>
                      <a:pt x="736" y="542"/>
                      <a:pt x="737" y="541"/>
                      <a:pt x="738" y="540"/>
                    </a:cubicBezTo>
                    <a:cubicBezTo>
                      <a:pt x="738" y="539"/>
                      <a:pt x="739" y="538"/>
                      <a:pt x="740" y="537"/>
                    </a:cubicBezTo>
                    <a:cubicBezTo>
                      <a:pt x="740" y="535"/>
                      <a:pt x="741" y="534"/>
                      <a:pt x="742" y="533"/>
                    </a:cubicBezTo>
                    <a:cubicBezTo>
                      <a:pt x="742" y="532"/>
                      <a:pt x="743" y="531"/>
                      <a:pt x="744" y="530"/>
                    </a:cubicBezTo>
                    <a:cubicBezTo>
                      <a:pt x="744" y="529"/>
                      <a:pt x="745" y="528"/>
                      <a:pt x="746" y="527"/>
                    </a:cubicBezTo>
                    <a:cubicBezTo>
                      <a:pt x="746" y="526"/>
                      <a:pt x="747" y="525"/>
                      <a:pt x="747" y="524"/>
                    </a:cubicBezTo>
                    <a:cubicBezTo>
                      <a:pt x="748" y="523"/>
                      <a:pt x="749" y="522"/>
                      <a:pt x="749" y="521"/>
                    </a:cubicBezTo>
                    <a:cubicBezTo>
                      <a:pt x="750" y="520"/>
                      <a:pt x="751" y="519"/>
                      <a:pt x="751" y="518"/>
                    </a:cubicBezTo>
                    <a:cubicBezTo>
                      <a:pt x="752" y="517"/>
                      <a:pt x="753" y="516"/>
                      <a:pt x="753" y="515"/>
                    </a:cubicBezTo>
                    <a:cubicBezTo>
                      <a:pt x="754" y="514"/>
                      <a:pt x="754" y="513"/>
                      <a:pt x="755" y="512"/>
                    </a:cubicBezTo>
                    <a:cubicBezTo>
                      <a:pt x="756" y="511"/>
                      <a:pt x="756" y="510"/>
                      <a:pt x="757" y="509"/>
                    </a:cubicBezTo>
                    <a:cubicBezTo>
                      <a:pt x="758" y="508"/>
                      <a:pt x="758" y="507"/>
                      <a:pt x="759" y="506"/>
                    </a:cubicBezTo>
                    <a:cubicBezTo>
                      <a:pt x="760" y="505"/>
                      <a:pt x="760" y="504"/>
                      <a:pt x="761" y="503"/>
                    </a:cubicBezTo>
                    <a:cubicBezTo>
                      <a:pt x="762" y="502"/>
                      <a:pt x="762" y="501"/>
                      <a:pt x="763" y="500"/>
                    </a:cubicBezTo>
                    <a:cubicBezTo>
                      <a:pt x="763" y="499"/>
                      <a:pt x="764" y="498"/>
                      <a:pt x="765" y="497"/>
                    </a:cubicBezTo>
                    <a:cubicBezTo>
                      <a:pt x="765" y="495"/>
                      <a:pt x="766" y="494"/>
                      <a:pt x="767" y="493"/>
                    </a:cubicBezTo>
                    <a:cubicBezTo>
                      <a:pt x="767" y="492"/>
                      <a:pt x="768" y="491"/>
                      <a:pt x="769" y="490"/>
                    </a:cubicBezTo>
                    <a:cubicBezTo>
                      <a:pt x="769" y="489"/>
                      <a:pt x="770" y="488"/>
                      <a:pt x="771" y="487"/>
                    </a:cubicBezTo>
                    <a:cubicBezTo>
                      <a:pt x="771" y="486"/>
                      <a:pt x="772" y="485"/>
                      <a:pt x="772" y="484"/>
                    </a:cubicBezTo>
                    <a:cubicBezTo>
                      <a:pt x="773" y="483"/>
                      <a:pt x="774" y="482"/>
                      <a:pt x="774" y="481"/>
                    </a:cubicBezTo>
                    <a:cubicBezTo>
                      <a:pt x="775" y="480"/>
                      <a:pt x="776" y="479"/>
                      <a:pt x="776" y="478"/>
                    </a:cubicBezTo>
                    <a:cubicBezTo>
                      <a:pt x="777" y="477"/>
                      <a:pt x="778" y="476"/>
                      <a:pt x="778" y="475"/>
                    </a:cubicBezTo>
                    <a:cubicBezTo>
                      <a:pt x="779" y="474"/>
                      <a:pt x="779" y="473"/>
                      <a:pt x="780" y="472"/>
                    </a:cubicBezTo>
                    <a:cubicBezTo>
                      <a:pt x="781" y="471"/>
                      <a:pt x="781" y="470"/>
                      <a:pt x="782" y="469"/>
                    </a:cubicBezTo>
                    <a:cubicBezTo>
                      <a:pt x="783" y="468"/>
                      <a:pt x="783" y="467"/>
                      <a:pt x="784" y="466"/>
                    </a:cubicBezTo>
                    <a:cubicBezTo>
                      <a:pt x="784" y="465"/>
                      <a:pt x="785" y="465"/>
                      <a:pt x="785" y="465"/>
                    </a:cubicBezTo>
                    <a:cubicBezTo>
                      <a:pt x="785" y="463"/>
                      <a:pt x="786" y="462"/>
                      <a:pt x="787" y="461"/>
                    </a:cubicBezTo>
                    <a:cubicBezTo>
                      <a:pt x="787" y="460"/>
                      <a:pt x="788" y="459"/>
                      <a:pt x="789" y="458"/>
                    </a:cubicBezTo>
                    <a:cubicBezTo>
                      <a:pt x="789" y="457"/>
                      <a:pt x="790" y="456"/>
                      <a:pt x="791" y="455"/>
                    </a:cubicBezTo>
                    <a:cubicBezTo>
                      <a:pt x="791" y="454"/>
                      <a:pt x="792" y="453"/>
                      <a:pt x="793" y="452"/>
                    </a:cubicBezTo>
                    <a:cubicBezTo>
                      <a:pt x="793" y="451"/>
                      <a:pt x="794" y="450"/>
                      <a:pt x="794" y="449"/>
                    </a:cubicBezTo>
                    <a:cubicBezTo>
                      <a:pt x="795" y="448"/>
                      <a:pt x="796" y="447"/>
                      <a:pt x="796" y="446"/>
                    </a:cubicBezTo>
                    <a:cubicBezTo>
                      <a:pt x="797" y="445"/>
                      <a:pt x="798" y="444"/>
                      <a:pt x="798" y="443"/>
                    </a:cubicBezTo>
                    <a:cubicBezTo>
                      <a:pt x="799" y="442"/>
                      <a:pt x="800" y="441"/>
                      <a:pt x="800" y="440"/>
                    </a:cubicBezTo>
                    <a:cubicBezTo>
                      <a:pt x="801" y="439"/>
                      <a:pt x="801" y="438"/>
                      <a:pt x="802" y="437"/>
                    </a:cubicBezTo>
                    <a:cubicBezTo>
                      <a:pt x="803" y="436"/>
                      <a:pt x="803" y="435"/>
                      <a:pt x="804" y="434"/>
                    </a:cubicBezTo>
                    <a:cubicBezTo>
                      <a:pt x="805" y="433"/>
                      <a:pt x="805" y="432"/>
                      <a:pt x="806" y="431"/>
                    </a:cubicBezTo>
                    <a:cubicBezTo>
                      <a:pt x="807" y="430"/>
                      <a:pt x="807" y="429"/>
                      <a:pt x="808" y="428"/>
                    </a:cubicBezTo>
                    <a:cubicBezTo>
                      <a:pt x="809" y="426"/>
                      <a:pt x="809" y="425"/>
                      <a:pt x="810" y="424"/>
                    </a:cubicBezTo>
                    <a:cubicBezTo>
                      <a:pt x="810" y="423"/>
                      <a:pt x="811" y="422"/>
                      <a:pt x="812" y="421"/>
                    </a:cubicBezTo>
                    <a:cubicBezTo>
                      <a:pt x="812" y="420"/>
                      <a:pt x="813" y="419"/>
                      <a:pt x="814" y="418"/>
                    </a:cubicBezTo>
                    <a:cubicBezTo>
                      <a:pt x="814" y="417"/>
                      <a:pt x="815" y="416"/>
                      <a:pt x="816" y="415"/>
                    </a:cubicBezTo>
                    <a:cubicBezTo>
                      <a:pt x="816" y="414"/>
                      <a:pt x="817" y="413"/>
                      <a:pt x="818" y="412"/>
                    </a:cubicBezTo>
                    <a:cubicBezTo>
                      <a:pt x="818" y="411"/>
                      <a:pt x="819" y="410"/>
                      <a:pt x="819" y="409"/>
                    </a:cubicBezTo>
                    <a:cubicBezTo>
                      <a:pt x="820" y="408"/>
                      <a:pt x="821" y="407"/>
                      <a:pt x="821" y="406"/>
                    </a:cubicBezTo>
                    <a:cubicBezTo>
                      <a:pt x="822" y="405"/>
                      <a:pt x="823" y="404"/>
                      <a:pt x="823" y="403"/>
                    </a:cubicBezTo>
                    <a:cubicBezTo>
                      <a:pt x="824" y="402"/>
                      <a:pt x="825" y="401"/>
                      <a:pt x="825" y="400"/>
                    </a:cubicBezTo>
                    <a:cubicBezTo>
                      <a:pt x="826" y="399"/>
                      <a:pt x="826" y="398"/>
                      <a:pt x="827" y="397"/>
                    </a:cubicBezTo>
                    <a:cubicBezTo>
                      <a:pt x="828" y="396"/>
                      <a:pt x="828" y="395"/>
                      <a:pt x="829" y="394"/>
                    </a:cubicBezTo>
                    <a:cubicBezTo>
                      <a:pt x="830" y="393"/>
                      <a:pt x="830" y="392"/>
                      <a:pt x="831" y="391"/>
                    </a:cubicBezTo>
                    <a:cubicBezTo>
                      <a:pt x="832" y="390"/>
                      <a:pt x="832" y="389"/>
                      <a:pt x="833" y="388"/>
                    </a:cubicBezTo>
                    <a:cubicBezTo>
                      <a:pt x="833" y="386"/>
                      <a:pt x="834" y="385"/>
                      <a:pt x="835" y="384"/>
                    </a:cubicBezTo>
                    <a:cubicBezTo>
                      <a:pt x="835" y="383"/>
                      <a:pt x="836" y="382"/>
                      <a:pt x="837" y="381"/>
                    </a:cubicBezTo>
                    <a:cubicBezTo>
                      <a:pt x="837" y="380"/>
                      <a:pt x="838" y="379"/>
                      <a:pt x="839" y="378"/>
                    </a:cubicBezTo>
                    <a:cubicBezTo>
                      <a:pt x="839" y="377"/>
                      <a:pt x="840" y="376"/>
                      <a:pt x="841" y="375"/>
                    </a:cubicBezTo>
                    <a:cubicBezTo>
                      <a:pt x="841" y="374"/>
                      <a:pt x="842" y="373"/>
                      <a:pt x="842" y="372"/>
                    </a:cubicBezTo>
                    <a:cubicBezTo>
                      <a:pt x="843" y="371"/>
                      <a:pt x="844" y="370"/>
                      <a:pt x="844" y="369"/>
                    </a:cubicBezTo>
                    <a:cubicBezTo>
                      <a:pt x="845" y="368"/>
                      <a:pt x="846" y="367"/>
                      <a:pt x="846" y="366"/>
                    </a:cubicBezTo>
                    <a:cubicBezTo>
                      <a:pt x="847" y="365"/>
                      <a:pt x="848" y="364"/>
                      <a:pt x="848" y="363"/>
                    </a:cubicBezTo>
                    <a:cubicBezTo>
                      <a:pt x="849" y="362"/>
                      <a:pt x="849" y="361"/>
                      <a:pt x="850" y="360"/>
                    </a:cubicBezTo>
                    <a:cubicBezTo>
                      <a:pt x="851" y="359"/>
                      <a:pt x="851" y="358"/>
                      <a:pt x="852" y="357"/>
                    </a:cubicBezTo>
                    <a:cubicBezTo>
                      <a:pt x="853" y="356"/>
                      <a:pt x="853" y="355"/>
                      <a:pt x="854" y="354"/>
                    </a:cubicBezTo>
                    <a:cubicBezTo>
                      <a:pt x="855" y="353"/>
                      <a:pt x="855" y="352"/>
                      <a:pt x="856" y="351"/>
                    </a:cubicBezTo>
                    <a:cubicBezTo>
                      <a:pt x="856" y="350"/>
                      <a:pt x="857" y="348"/>
                      <a:pt x="858" y="347"/>
                    </a:cubicBezTo>
                    <a:cubicBezTo>
                      <a:pt x="858" y="346"/>
                      <a:pt x="859" y="345"/>
                      <a:pt x="860" y="344"/>
                    </a:cubicBezTo>
                    <a:cubicBezTo>
                      <a:pt x="860" y="344"/>
                      <a:pt x="860" y="343"/>
                      <a:pt x="861" y="343"/>
                    </a:cubicBezTo>
                    <a:cubicBezTo>
                      <a:pt x="861" y="342"/>
                      <a:pt x="861" y="342"/>
                      <a:pt x="861" y="342"/>
                    </a:cubicBezTo>
                    <a:cubicBezTo>
                      <a:pt x="861" y="342"/>
                      <a:pt x="861" y="341"/>
                      <a:pt x="862" y="341"/>
                    </a:cubicBezTo>
                    <a:cubicBezTo>
                      <a:pt x="862" y="341"/>
                      <a:pt x="862" y="340"/>
                      <a:pt x="863" y="340"/>
                    </a:cubicBezTo>
                    <a:cubicBezTo>
                      <a:pt x="863" y="339"/>
                      <a:pt x="864" y="338"/>
                      <a:pt x="865" y="337"/>
                    </a:cubicBezTo>
                    <a:cubicBezTo>
                      <a:pt x="865" y="336"/>
                      <a:pt x="866" y="335"/>
                      <a:pt x="866" y="333"/>
                    </a:cubicBezTo>
                    <a:cubicBezTo>
                      <a:pt x="867" y="332"/>
                      <a:pt x="868" y="331"/>
                      <a:pt x="868" y="330"/>
                    </a:cubicBezTo>
                    <a:cubicBezTo>
                      <a:pt x="869" y="329"/>
                      <a:pt x="870" y="328"/>
                      <a:pt x="870" y="327"/>
                    </a:cubicBezTo>
                    <a:cubicBezTo>
                      <a:pt x="871" y="326"/>
                      <a:pt x="872" y="325"/>
                      <a:pt x="872" y="324"/>
                    </a:cubicBezTo>
                    <a:cubicBezTo>
                      <a:pt x="873" y="323"/>
                      <a:pt x="873" y="322"/>
                      <a:pt x="874" y="321"/>
                    </a:cubicBezTo>
                    <a:cubicBezTo>
                      <a:pt x="875" y="320"/>
                      <a:pt x="875" y="319"/>
                      <a:pt x="876" y="318"/>
                    </a:cubicBezTo>
                    <a:cubicBezTo>
                      <a:pt x="877" y="317"/>
                      <a:pt x="877" y="316"/>
                      <a:pt x="878" y="315"/>
                    </a:cubicBezTo>
                    <a:cubicBezTo>
                      <a:pt x="879" y="314"/>
                      <a:pt x="879" y="313"/>
                      <a:pt x="880" y="312"/>
                    </a:cubicBezTo>
                    <a:cubicBezTo>
                      <a:pt x="880" y="311"/>
                      <a:pt x="881" y="310"/>
                      <a:pt x="882" y="309"/>
                    </a:cubicBezTo>
                    <a:cubicBezTo>
                      <a:pt x="882" y="308"/>
                      <a:pt x="883" y="307"/>
                      <a:pt x="884" y="306"/>
                    </a:cubicBezTo>
                    <a:cubicBezTo>
                      <a:pt x="884" y="305"/>
                      <a:pt x="885" y="304"/>
                      <a:pt x="886" y="303"/>
                    </a:cubicBezTo>
                    <a:cubicBezTo>
                      <a:pt x="886" y="302"/>
                      <a:pt x="887" y="301"/>
                      <a:pt x="887" y="300"/>
                    </a:cubicBezTo>
                    <a:cubicBezTo>
                      <a:pt x="888" y="299"/>
                      <a:pt x="889" y="297"/>
                      <a:pt x="889" y="296"/>
                    </a:cubicBezTo>
                    <a:cubicBezTo>
                      <a:pt x="890" y="295"/>
                      <a:pt x="891" y="294"/>
                      <a:pt x="891" y="293"/>
                    </a:cubicBezTo>
                    <a:cubicBezTo>
                      <a:pt x="892" y="292"/>
                      <a:pt x="893" y="291"/>
                      <a:pt x="893" y="290"/>
                    </a:cubicBezTo>
                    <a:cubicBezTo>
                      <a:pt x="894" y="289"/>
                      <a:pt x="894" y="288"/>
                      <a:pt x="895" y="287"/>
                    </a:cubicBezTo>
                    <a:cubicBezTo>
                      <a:pt x="896" y="286"/>
                      <a:pt x="896" y="285"/>
                      <a:pt x="897" y="284"/>
                    </a:cubicBezTo>
                    <a:cubicBezTo>
                      <a:pt x="898" y="283"/>
                      <a:pt x="898" y="282"/>
                      <a:pt x="899" y="281"/>
                    </a:cubicBezTo>
                    <a:cubicBezTo>
                      <a:pt x="899" y="280"/>
                      <a:pt x="900" y="279"/>
                      <a:pt x="901" y="278"/>
                    </a:cubicBezTo>
                    <a:cubicBezTo>
                      <a:pt x="901" y="277"/>
                      <a:pt x="902" y="276"/>
                      <a:pt x="903" y="275"/>
                    </a:cubicBezTo>
                    <a:cubicBezTo>
                      <a:pt x="903" y="274"/>
                      <a:pt x="904" y="273"/>
                      <a:pt x="905" y="272"/>
                    </a:cubicBezTo>
                    <a:cubicBezTo>
                      <a:pt x="905" y="271"/>
                      <a:pt x="906" y="270"/>
                      <a:pt x="907" y="269"/>
                    </a:cubicBezTo>
                    <a:cubicBezTo>
                      <a:pt x="907" y="268"/>
                      <a:pt x="908" y="267"/>
                      <a:pt x="908" y="266"/>
                    </a:cubicBezTo>
                    <a:cubicBezTo>
                      <a:pt x="909" y="265"/>
                      <a:pt x="910" y="264"/>
                      <a:pt x="910" y="263"/>
                    </a:cubicBezTo>
                    <a:cubicBezTo>
                      <a:pt x="911" y="262"/>
                      <a:pt x="912" y="260"/>
                      <a:pt x="912" y="259"/>
                    </a:cubicBezTo>
                    <a:cubicBezTo>
                      <a:pt x="913" y="258"/>
                      <a:pt x="913" y="257"/>
                      <a:pt x="914" y="256"/>
                    </a:cubicBezTo>
                    <a:cubicBezTo>
                      <a:pt x="915" y="255"/>
                      <a:pt x="915" y="254"/>
                      <a:pt x="916" y="253"/>
                    </a:cubicBezTo>
                    <a:cubicBezTo>
                      <a:pt x="917" y="252"/>
                      <a:pt x="917" y="251"/>
                      <a:pt x="918" y="250"/>
                    </a:cubicBezTo>
                    <a:cubicBezTo>
                      <a:pt x="919" y="249"/>
                      <a:pt x="919" y="248"/>
                      <a:pt x="920" y="247"/>
                    </a:cubicBezTo>
                    <a:cubicBezTo>
                      <a:pt x="920" y="246"/>
                      <a:pt x="921" y="245"/>
                      <a:pt x="922" y="244"/>
                    </a:cubicBezTo>
                    <a:cubicBezTo>
                      <a:pt x="922" y="243"/>
                      <a:pt x="923" y="242"/>
                      <a:pt x="924" y="241"/>
                    </a:cubicBezTo>
                    <a:cubicBezTo>
                      <a:pt x="924" y="240"/>
                      <a:pt x="925" y="239"/>
                      <a:pt x="925" y="238"/>
                    </a:cubicBezTo>
                    <a:cubicBezTo>
                      <a:pt x="926" y="237"/>
                      <a:pt x="926" y="237"/>
                      <a:pt x="927" y="236"/>
                    </a:cubicBezTo>
                    <a:cubicBezTo>
                      <a:pt x="927" y="236"/>
                      <a:pt x="927" y="235"/>
                      <a:pt x="927" y="235"/>
                    </a:cubicBezTo>
                    <a:cubicBezTo>
                      <a:pt x="927" y="235"/>
                      <a:pt x="927" y="235"/>
                      <a:pt x="927" y="235"/>
                    </a:cubicBezTo>
                    <a:cubicBezTo>
                      <a:pt x="928" y="234"/>
                      <a:pt x="928" y="234"/>
                      <a:pt x="929" y="233"/>
                    </a:cubicBezTo>
                    <a:cubicBezTo>
                      <a:pt x="929" y="232"/>
                      <a:pt x="930" y="231"/>
                      <a:pt x="930" y="230"/>
                    </a:cubicBezTo>
                    <a:cubicBezTo>
                      <a:pt x="931" y="229"/>
                      <a:pt x="932" y="228"/>
                      <a:pt x="932" y="227"/>
                    </a:cubicBezTo>
                    <a:cubicBezTo>
                      <a:pt x="933" y="226"/>
                      <a:pt x="934" y="225"/>
                      <a:pt x="934" y="224"/>
                    </a:cubicBezTo>
                    <a:cubicBezTo>
                      <a:pt x="935" y="223"/>
                      <a:pt x="936" y="222"/>
                      <a:pt x="936" y="221"/>
                    </a:cubicBezTo>
                    <a:cubicBezTo>
                      <a:pt x="937" y="219"/>
                      <a:pt x="937" y="218"/>
                      <a:pt x="938" y="217"/>
                    </a:cubicBezTo>
                    <a:cubicBezTo>
                      <a:pt x="939" y="216"/>
                      <a:pt x="939" y="215"/>
                      <a:pt x="940" y="214"/>
                    </a:cubicBezTo>
                    <a:cubicBezTo>
                      <a:pt x="941" y="213"/>
                      <a:pt x="941" y="212"/>
                      <a:pt x="942" y="211"/>
                    </a:cubicBezTo>
                    <a:cubicBezTo>
                      <a:pt x="942" y="210"/>
                      <a:pt x="943" y="209"/>
                      <a:pt x="944" y="208"/>
                    </a:cubicBezTo>
                    <a:cubicBezTo>
                      <a:pt x="944" y="207"/>
                      <a:pt x="945" y="206"/>
                      <a:pt x="946" y="205"/>
                    </a:cubicBezTo>
                    <a:cubicBezTo>
                      <a:pt x="946" y="204"/>
                      <a:pt x="947" y="203"/>
                      <a:pt x="948" y="202"/>
                    </a:cubicBezTo>
                    <a:cubicBezTo>
                      <a:pt x="948" y="201"/>
                      <a:pt x="949" y="200"/>
                      <a:pt x="949" y="199"/>
                    </a:cubicBezTo>
                    <a:cubicBezTo>
                      <a:pt x="950" y="198"/>
                      <a:pt x="951" y="197"/>
                      <a:pt x="951" y="196"/>
                    </a:cubicBezTo>
                    <a:cubicBezTo>
                      <a:pt x="952" y="195"/>
                      <a:pt x="953" y="194"/>
                      <a:pt x="953" y="193"/>
                    </a:cubicBezTo>
                    <a:cubicBezTo>
                      <a:pt x="954" y="192"/>
                      <a:pt x="954" y="191"/>
                      <a:pt x="955" y="190"/>
                    </a:cubicBezTo>
                    <a:cubicBezTo>
                      <a:pt x="956" y="189"/>
                      <a:pt x="956" y="188"/>
                      <a:pt x="957" y="187"/>
                    </a:cubicBezTo>
                    <a:cubicBezTo>
                      <a:pt x="958" y="186"/>
                      <a:pt x="958" y="184"/>
                      <a:pt x="959" y="183"/>
                    </a:cubicBezTo>
                    <a:cubicBezTo>
                      <a:pt x="960" y="182"/>
                      <a:pt x="960" y="181"/>
                      <a:pt x="961" y="180"/>
                    </a:cubicBezTo>
                    <a:cubicBezTo>
                      <a:pt x="961" y="179"/>
                      <a:pt x="962" y="178"/>
                      <a:pt x="963" y="177"/>
                    </a:cubicBezTo>
                    <a:cubicBezTo>
                      <a:pt x="963" y="176"/>
                      <a:pt x="964" y="175"/>
                      <a:pt x="965" y="174"/>
                    </a:cubicBezTo>
                    <a:cubicBezTo>
                      <a:pt x="965" y="173"/>
                      <a:pt x="966" y="172"/>
                      <a:pt x="966" y="171"/>
                    </a:cubicBezTo>
                    <a:cubicBezTo>
                      <a:pt x="967" y="170"/>
                      <a:pt x="968" y="169"/>
                      <a:pt x="968" y="168"/>
                    </a:cubicBezTo>
                    <a:cubicBezTo>
                      <a:pt x="969" y="167"/>
                      <a:pt x="970" y="166"/>
                      <a:pt x="970" y="165"/>
                    </a:cubicBezTo>
                    <a:cubicBezTo>
                      <a:pt x="971" y="164"/>
                      <a:pt x="971" y="163"/>
                      <a:pt x="972" y="162"/>
                    </a:cubicBezTo>
                    <a:cubicBezTo>
                      <a:pt x="973" y="161"/>
                      <a:pt x="973" y="160"/>
                      <a:pt x="974" y="159"/>
                    </a:cubicBezTo>
                    <a:cubicBezTo>
                      <a:pt x="975" y="158"/>
                      <a:pt x="975" y="157"/>
                      <a:pt x="976" y="156"/>
                    </a:cubicBezTo>
                    <a:cubicBezTo>
                      <a:pt x="976" y="155"/>
                      <a:pt x="977" y="154"/>
                      <a:pt x="978" y="153"/>
                    </a:cubicBezTo>
                    <a:cubicBezTo>
                      <a:pt x="978" y="152"/>
                      <a:pt x="979" y="151"/>
                      <a:pt x="980" y="150"/>
                    </a:cubicBezTo>
                    <a:cubicBezTo>
                      <a:pt x="980" y="148"/>
                      <a:pt x="981" y="147"/>
                      <a:pt x="982" y="146"/>
                    </a:cubicBezTo>
                    <a:cubicBezTo>
                      <a:pt x="982" y="145"/>
                      <a:pt x="983" y="144"/>
                      <a:pt x="983" y="143"/>
                    </a:cubicBezTo>
                    <a:cubicBezTo>
                      <a:pt x="984" y="143"/>
                      <a:pt x="984" y="142"/>
                      <a:pt x="985" y="141"/>
                    </a:cubicBezTo>
                    <a:cubicBezTo>
                      <a:pt x="985" y="141"/>
                      <a:pt x="985" y="141"/>
                      <a:pt x="985" y="140"/>
                    </a:cubicBezTo>
                    <a:cubicBezTo>
                      <a:pt x="985" y="140"/>
                      <a:pt x="985" y="140"/>
                      <a:pt x="985" y="140"/>
                    </a:cubicBezTo>
                    <a:cubicBezTo>
                      <a:pt x="986" y="140"/>
                      <a:pt x="986" y="139"/>
                      <a:pt x="987" y="138"/>
                    </a:cubicBezTo>
                    <a:cubicBezTo>
                      <a:pt x="987" y="137"/>
                      <a:pt x="988" y="136"/>
                      <a:pt x="988" y="135"/>
                    </a:cubicBezTo>
                    <a:cubicBezTo>
                      <a:pt x="989" y="134"/>
                      <a:pt x="990" y="133"/>
                      <a:pt x="990" y="132"/>
                    </a:cubicBezTo>
                    <a:cubicBezTo>
                      <a:pt x="991" y="131"/>
                      <a:pt x="992" y="130"/>
                      <a:pt x="992" y="129"/>
                    </a:cubicBezTo>
                    <a:cubicBezTo>
                      <a:pt x="993" y="128"/>
                      <a:pt x="993" y="127"/>
                      <a:pt x="994" y="126"/>
                    </a:cubicBezTo>
                    <a:cubicBezTo>
                      <a:pt x="995" y="125"/>
                      <a:pt x="995" y="124"/>
                      <a:pt x="996" y="123"/>
                    </a:cubicBezTo>
                    <a:cubicBezTo>
                      <a:pt x="997" y="122"/>
                      <a:pt x="997" y="121"/>
                      <a:pt x="998" y="120"/>
                    </a:cubicBezTo>
                    <a:cubicBezTo>
                      <a:pt x="998" y="119"/>
                      <a:pt x="999" y="117"/>
                      <a:pt x="1000" y="116"/>
                    </a:cubicBezTo>
                    <a:cubicBezTo>
                      <a:pt x="1000" y="115"/>
                      <a:pt x="1001" y="114"/>
                      <a:pt x="1002" y="113"/>
                    </a:cubicBezTo>
                    <a:cubicBezTo>
                      <a:pt x="1002" y="112"/>
                      <a:pt x="1003" y="111"/>
                      <a:pt x="1004" y="110"/>
                    </a:cubicBezTo>
                    <a:cubicBezTo>
                      <a:pt x="1004" y="109"/>
                      <a:pt x="1005" y="108"/>
                      <a:pt x="1005" y="107"/>
                    </a:cubicBezTo>
                    <a:cubicBezTo>
                      <a:pt x="1006" y="106"/>
                      <a:pt x="1007" y="105"/>
                      <a:pt x="1007" y="104"/>
                    </a:cubicBezTo>
                    <a:cubicBezTo>
                      <a:pt x="1008" y="103"/>
                      <a:pt x="1009" y="102"/>
                      <a:pt x="1009" y="101"/>
                    </a:cubicBezTo>
                    <a:cubicBezTo>
                      <a:pt x="1010" y="100"/>
                      <a:pt x="1010" y="99"/>
                      <a:pt x="1011" y="98"/>
                    </a:cubicBezTo>
                    <a:cubicBezTo>
                      <a:pt x="1012" y="97"/>
                      <a:pt x="1012" y="96"/>
                      <a:pt x="1013" y="95"/>
                    </a:cubicBezTo>
                    <a:cubicBezTo>
                      <a:pt x="1014" y="94"/>
                      <a:pt x="1014" y="93"/>
                      <a:pt x="1015" y="92"/>
                    </a:cubicBezTo>
                    <a:cubicBezTo>
                      <a:pt x="1015" y="91"/>
                      <a:pt x="1016" y="90"/>
                      <a:pt x="1017" y="89"/>
                    </a:cubicBezTo>
                    <a:cubicBezTo>
                      <a:pt x="1017" y="88"/>
                      <a:pt x="1018" y="87"/>
                      <a:pt x="1019" y="86"/>
                    </a:cubicBezTo>
                    <a:cubicBezTo>
                      <a:pt x="1019" y="85"/>
                      <a:pt x="1020" y="83"/>
                      <a:pt x="1020" y="82"/>
                    </a:cubicBezTo>
                    <a:cubicBezTo>
                      <a:pt x="1021" y="81"/>
                      <a:pt x="1022" y="80"/>
                      <a:pt x="1022" y="79"/>
                    </a:cubicBezTo>
                    <a:cubicBezTo>
                      <a:pt x="1023" y="78"/>
                      <a:pt x="1023" y="77"/>
                      <a:pt x="1024" y="76"/>
                    </a:cubicBezTo>
                    <a:cubicBezTo>
                      <a:pt x="1025" y="75"/>
                      <a:pt x="1025" y="74"/>
                      <a:pt x="1026" y="73"/>
                    </a:cubicBezTo>
                    <a:cubicBezTo>
                      <a:pt x="1027" y="72"/>
                      <a:pt x="1027" y="71"/>
                      <a:pt x="1028" y="70"/>
                    </a:cubicBezTo>
                    <a:cubicBezTo>
                      <a:pt x="1028" y="69"/>
                      <a:pt x="1029" y="68"/>
                      <a:pt x="1030" y="67"/>
                    </a:cubicBezTo>
                    <a:cubicBezTo>
                      <a:pt x="1030" y="66"/>
                      <a:pt x="1031" y="65"/>
                      <a:pt x="1032" y="64"/>
                    </a:cubicBezTo>
                    <a:cubicBezTo>
                      <a:pt x="1032" y="63"/>
                      <a:pt x="1033" y="62"/>
                      <a:pt x="1033" y="61"/>
                    </a:cubicBezTo>
                    <a:cubicBezTo>
                      <a:pt x="1034" y="60"/>
                      <a:pt x="1035" y="59"/>
                      <a:pt x="1035" y="58"/>
                    </a:cubicBezTo>
                    <a:cubicBezTo>
                      <a:pt x="1036" y="57"/>
                      <a:pt x="1036" y="56"/>
                      <a:pt x="1037" y="55"/>
                    </a:cubicBezTo>
                    <a:cubicBezTo>
                      <a:pt x="1037" y="55"/>
                      <a:pt x="1037" y="55"/>
                      <a:pt x="1037" y="55"/>
                    </a:cubicBezTo>
                    <a:cubicBezTo>
                      <a:pt x="1037" y="55"/>
                      <a:pt x="1037" y="55"/>
                      <a:pt x="1037" y="55"/>
                    </a:cubicBezTo>
                    <a:cubicBezTo>
                      <a:pt x="1037" y="55"/>
                      <a:pt x="1037" y="55"/>
                      <a:pt x="1037" y="55"/>
                    </a:cubicBezTo>
                    <a:cubicBezTo>
                      <a:pt x="1038" y="54"/>
                      <a:pt x="1038" y="53"/>
                      <a:pt x="1039" y="52"/>
                    </a:cubicBezTo>
                    <a:cubicBezTo>
                      <a:pt x="1039" y="52"/>
                      <a:pt x="1039" y="52"/>
                      <a:pt x="1039" y="52"/>
                    </a:cubicBezTo>
                    <a:cubicBezTo>
                      <a:pt x="1039" y="51"/>
                      <a:pt x="1040" y="50"/>
                      <a:pt x="1040" y="49"/>
                    </a:cubicBezTo>
                    <a:cubicBezTo>
                      <a:pt x="1040" y="49"/>
                      <a:pt x="1041" y="49"/>
                      <a:pt x="1041" y="49"/>
                    </a:cubicBezTo>
                    <a:cubicBezTo>
                      <a:pt x="1041" y="48"/>
                      <a:pt x="1042" y="47"/>
                      <a:pt x="1042" y="46"/>
                    </a:cubicBezTo>
                    <a:cubicBezTo>
                      <a:pt x="1042" y="46"/>
                      <a:pt x="1042" y="46"/>
                      <a:pt x="1043" y="46"/>
                    </a:cubicBezTo>
                    <a:cubicBezTo>
                      <a:pt x="1043" y="45"/>
                      <a:pt x="1044" y="44"/>
                      <a:pt x="1044" y="43"/>
                    </a:cubicBezTo>
                    <a:cubicBezTo>
                      <a:pt x="1044" y="43"/>
                      <a:pt x="1044" y="43"/>
                      <a:pt x="1044" y="43"/>
                    </a:cubicBezTo>
                    <a:cubicBezTo>
                      <a:pt x="1045" y="42"/>
                      <a:pt x="1046" y="41"/>
                      <a:pt x="1046" y="40"/>
                    </a:cubicBezTo>
                    <a:cubicBezTo>
                      <a:pt x="1046" y="40"/>
                      <a:pt x="1046" y="40"/>
                      <a:pt x="1046" y="39"/>
                    </a:cubicBezTo>
                    <a:cubicBezTo>
                      <a:pt x="1047" y="39"/>
                      <a:pt x="1047" y="38"/>
                      <a:pt x="1048" y="37"/>
                    </a:cubicBezTo>
                    <a:cubicBezTo>
                      <a:pt x="1048" y="37"/>
                      <a:pt x="1048" y="36"/>
                      <a:pt x="1048" y="36"/>
                    </a:cubicBezTo>
                    <a:cubicBezTo>
                      <a:pt x="1049" y="35"/>
                      <a:pt x="1049" y="35"/>
                      <a:pt x="1050" y="34"/>
                    </a:cubicBezTo>
                    <a:cubicBezTo>
                      <a:pt x="1050" y="34"/>
                      <a:pt x="1050" y="33"/>
                      <a:pt x="1050" y="33"/>
                    </a:cubicBezTo>
                    <a:cubicBezTo>
                      <a:pt x="1051" y="32"/>
                      <a:pt x="1051" y="31"/>
                      <a:pt x="1052" y="31"/>
                    </a:cubicBezTo>
                    <a:cubicBezTo>
                      <a:pt x="1052" y="30"/>
                      <a:pt x="1052" y="30"/>
                      <a:pt x="1052" y="30"/>
                    </a:cubicBezTo>
                    <a:cubicBezTo>
                      <a:pt x="1065" y="8"/>
                      <a:pt x="1093" y="0"/>
                      <a:pt x="1114" y="13"/>
                    </a:cubicBezTo>
                    <a:cubicBezTo>
                      <a:pt x="1136" y="26"/>
                      <a:pt x="1144" y="53"/>
                      <a:pt x="1131" y="75"/>
                    </a:cubicBezTo>
                    <a:close/>
                    <a:moveTo>
                      <a:pt x="1402" y="698"/>
                    </a:moveTo>
                    <a:cubicBezTo>
                      <a:pt x="1342" y="698"/>
                      <a:pt x="1342" y="698"/>
                      <a:pt x="1342" y="698"/>
                    </a:cubicBezTo>
                    <a:cubicBezTo>
                      <a:pt x="846" y="698"/>
                      <a:pt x="846" y="698"/>
                      <a:pt x="846" y="698"/>
                    </a:cubicBezTo>
                    <a:cubicBezTo>
                      <a:pt x="846" y="699"/>
                      <a:pt x="845" y="699"/>
                      <a:pt x="845" y="700"/>
                    </a:cubicBezTo>
                    <a:cubicBezTo>
                      <a:pt x="844" y="701"/>
                      <a:pt x="844" y="702"/>
                      <a:pt x="843" y="703"/>
                    </a:cubicBezTo>
                    <a:cubicBezTo>
                      <a:pt x="843" y="704"/>
                      <a:pt x="842" y="705"/>
                      <a:pt x="842" y="706"/>
                    </a:cubicBezTo>
                    <a:cubicBezTo>
                      <a:pt x="841" y="707"/>
                      <a:pt x="841" y="708"/>
                      <a:pt x="840" y="709"/>
                    </a:cubicBezTo>
                    <a:cubicBezTo>
                      <a:pt x="839" y="710"/>
                      <a:pt x="839" y="711"/>
                      <a:pt x="838" y="712"/>
                    </a:cubicBezTo>
                    <a:cubicBezTo>
                      <a:pt x="838" y="713"/>
                      <a:pt x="837" y="714"/>
                      <a:pt x="837" y="715"/>
                    </a:cubicBezTo>
                    <a:cubicBezTo>
                      <a:pt x="836" y="716"/>
                      <a:pt x="836" y="717"/>
                      <a:pt x="835" y="718"/>
                    </a:cubicBezTo>
                    <a:cubicBezTo>
                      <a:pt x="835" y="720"/>
                      <a:pt x="834" y="721"/>
                      <a:pt x="833" y="722"/>
                    </a:cubicBezTo>
                    <a:cubicBezTo>
                      <a:pt x="833" y="723"/>
                      <a:pt x="832" y="724"/>
                      <a:pt x="832" y="725"/>
                    </a:cubicBezTo>
                    <a:cubicBezTo>
                      <a:pt x="831" y="726"/>
                      <a:pt x="831" y="727"/>
                      <a:pt x="830" y="728"/>
                    </a:cubicBezTo>
                    <a:cubicBezTo>
                      <a:pt x="811" y="765"/>
                      <a:pt x="773" y="789"/>
                      <a:pt x="731" y="789"/>
                    </a:cubicBezTo>
                    <a:cubicBezTo>
                      <a:pt x="677" y="789"/>
                      <a:pt x="631" y="750"/>
                      <a:pt x="622" y="698"/>
                    </a:cubicBezTo>
                    <a:cubicBezTo>
                      <a:pt x="120" y="698"/>
                      <a:pt x="120" y="698"/>
                      <a:pt x="120" y="698"/>
                    </a:cubicBezTo>
                    <a:cubicBezTo>
                      <a:pt x="60" y="698"/>
                      <a:pt x="60" y="698"/>
                      <a:pt x="60" y="698"/>
                    </a:cubicBezTo>
                    <a:cubicBezTo>
                      <a:pt x="0" y="698"/>
                      <a:pt x="0" y="698"/>
                      <a:pt x="0" y="698"/>
                    </a:cubicBezTo>
                    <a:cubicBezTo>
                      <a:pt x="0" y="966"/>
                      <a:pt x="145" y="1200"/>
                      <a:pt x="360" y="1328"/>
                    </a:cubicBezTo>
                    <a:cubicBezTo>
                      <a:pt x="360" y="1161"/>
                      <a:pt x="360" y="1161"/>
                      <a:pt x="360" y="1161"/>
                    </a:cubicBezTo>
                    <a:cubicBezTo>
                      <a:pt x="309" y="1213"/>
                      <a:pt x="309" y="1213"/>
                      <a:pt x="309" y="1213"/>
                    </a:cubicBezTo>
                    <a:cubicBezTo>
                      <a:pt x="304" y="1218"/>
                      <a:pt x="297" y="1220"/>
                      <a:pt x="290" y="1220"/>
                    </a:cubicBezTo>
                    <a:cubicBezTo>
                      <a:pt x="283" y="1220"/>
                      <a:pt x="276" y="1218"/>
                      <a:pt x="271" y="1213"/>
                    </a:cubicBezTo>
                    <a:cubicBezTo>
                      <a:pt x="266" y="1208"/>
                      <a:pt x="264" y="1201"/>
                      <a:pt x="264" y="1194"/>
                    </a:cubicBezTo>
                    <a:cubicBezTo>
                      <a:pt x="264" y="1187"/>
                      <a:pt x="266" y="1180"/>
                      <a:pt x="271" y="1175"/>
                    </a:cubicBezTo>
                    <a:cubicBezTo>
                      <a:pt x="368" y="1079"/>
                      <a:pt x="368" y="1079"/>
                      <a:pt x="368" y="1079"/>
                    </a:cubicBezTo>
                    <a:cubicBezTo>
                      <a:pt x="369" y="1078"/>
                      <a:pt x="370" y="1077"/>
                      <a:pt x="372" y="1076"/>
                    </a:cubicBezTo>
                    <a:cubicBezTo>
                      <a:pt x="372" y="1075"/>
                      <a:pt x="372" y="1075"/>
                      <a:pt x="372" y="1075"/>
                    </a:cubicBezTo>
                    <a:cubicBezTo>
                      <a:pt x="372" y="1075"/>
                      <a:pt x="372" y="1075"/>
                      <a:pt x="372" y="1075"/>
                    </a:cubicBezTo>
                    <a:cubicBezTo>
                      <a:pt x="374" y="1074"/>
                      <a:pt x="375" y="1074"/>
                      <a:pt x="376" y="1073"/>
                    </a:cubicBezTo>
                    <a:cubicBezTo>
                      <a:pt x="377" y="1073"/>
                      <a:pt x="377" y="1073"/>
                      <a:pt x="377" y="1073"/>
                    </a:cubicBezTo>
                    <a:cubicBezTo>
                      <a:pt x="377" y="1073"/>
                      <a:pt x="377" y="1073"/>
                      <a:pt x="377" y="1073"/>
                    </a:cubicBezTo>
                    <a:cubicBezTo>
                      <a:pt x="379" y="1072"/>
                      <a:pt x="380" y="1072"/>
                      <a:pt x="381" y="1072"/>
                    </a:cubicBezTo>
                    <a:cubicBezTo>
                      <a:pt x="382" y="1072"/>
                      <a:pt x="382" y="1072"/>
                      <a:pt x="382" y="1072"/>
                    </a:cubicBezTo>
                    <a:cubicBezTo>
                      <a:pt x="382" y="1072"/>
                      <a:pt x="382" y="1072"/>
                      <a:pt x="382" y="1072"/>
                    </a:cubicBezTo>
                    <a:cubicBezTo>
                      <a:pt x="384" y="1071"/>
                      <a:pt x="385" y="1071"/>
                      <a:pt x="387" y="1071"/>
                    </a:cubicBezTo>
                    <a:cubicBezTo>
                      <a:pt x="388" y="1071"/>
                      <a:pt x="390" y="1071"/>
                      <a:pt x="391" y="1072"/>
                    </a:cubicBezTo>
                    <a:cubicBezTo>
                      <a:pt x="392" y="1072"/>
                      <a:pt x="392" y="1072"/>
                      <a:pt x="392" y="1072"/>
                    </a:cubicBezTo>
                    <a:cubicBezTo>
                      <a:pt x="393" y="1072"/>
                      <a:pt x="394" y="1072"/>
                      <a:pt x="396" y="1073"/>
                    </a:cubicBezTo>
                    <a:cubicBezTo>
                      <a:pt x="396" y="1073"/>
                      <a:pt x="396" y="1073"/>
                      <a:pt x="396" y="1073"/>
                    </a:cubicBezTo>
                    <a:cubicBezTo>
                      <a:pt x="397" y="1073"/>
                      <a:pt x="397" y="1073"/>
                      <a:pt x="397" y="1073"/>
                    </a:cubicBezTo>
                    <a:cubicBezTo>
                      <a:pt x="398" y="1074"/>
                      <a:pt x="399" y="1074"/>
                      <a:pt x="401" y="1075"/>
                    </a:cubicBezTo>
                    <a:cubicBezTo>
                      <a:pt x="401" y="1075"/>
                      <a:pt x="401" y="1075"/>
                      <a:pt x="401" y="1075"/>
                    </a:cubicBezTo>
                    <a:cubicBezTo>
                      <a:pt x="401" y="1076"/>
                      <a:pt x="401" y="1076"/>
                      <a:pt x="401" y="1076"/>
                    </a:cubicBezTo>
                    <a:cubicBezTo>
                      <a:pt x="403" y="1077"/>
                      <a:pt x="404" y="1078"/>
                      <a:pt x="405" y="1079"/>
                    </a:cubicBezTo>
                    <a:cubicBezTo>
                      <a:pt x="502" y="1175"/>
                      <a:pt x="502" y="1175"/>
                      <a:pt x="502" y="1175"/>
                    </a:cubicBezTo>
                    <a:cubicBezTo>
                      <a:pt x="507" y="1180"/>
                      <a:pt x="510" y="1187"/>
                      <a:pt x="510" y="1194"/>
                    </a:cubicBezTo>
                    <a:cubicBezTo>
                      <a:pt x="510" y="1201"/>
                      <a:pt x="507" y="1208"/>
                      <a:pt x="502" y="1213"/>
                    </a:cubicBezTo>
                    <a:cubicBezTo>
                      <a:pt x="497" y="1218"/>
                      <a:pt x="490" y="1220"/>
                      <a:pt x="483" y="1220"/>
                    </a:cubicBezTo>
                    <a:cubicBezTo>
                      <a:pt x="476" y="1220"/>
                      <a:pt x="470" y="1218"/>
                      <a:pt x="465" y="1213"/>
                    </a:cubicBezTo>
                    <a:cubicBezTo>
                      <a:pt x="413" y="1161"/>
                      <a:pt x="413" y="1161"/>
                      <a:pt x="413" y="1161"/>
                    </a:cubicBezTo>
                    <a:cubicBezTo>
                      <a:pt x="413" y="1356"/>
                      <a:pt x="413" y="1356"/>
                      <a:pt x="413" y="1356"/>
                    </a:cubicBezTo>
                    <a:cubicBezTo>
                      <a:pt x="502" y="1399"/>
                      <a:pt x="600" y="1425"/>
                      <a:pt x="705" y="1428"/>
                    </a:cubicBezTo>
                    <a:cubicBezTo>
                      <a:pt x="705" y="1044"/>
                      <a:pt x="705" y="1044"/>
                      <a:pt x="705" y="1044"/>
                    </a:cubicBezTo>
                    <a:cubicBezTo>
                      <a:pt x="653" y="1096"/>
                      <a:pt x="653" y="1096"/>
                      <a:pt x="653" y="1096"/>
                    </a:cubicBezTo>
                    <a:cubicBezTo>
                      <a:pt x="648" y="1101"/>
                      <a:pt x="641" y="1104"/>
                      <a:pt x="634" y="1104"/>
                    </a:cubicBezTo>
                    <a:cubicBezTo>
                      <a:pt x="627" y="1104"/>
                      <a:pt x="621" y="1101"/>
                      <a:pt x="616" y="1096"/>
                    </a:cubicBezTo>
                    <a:cubicBezTo>
                      <a:pt x="611" y="1091"/>
                      <a:pt x="608" y="1085"/>
                      <a:pt x="608" y="1078"/>
                    </a:cubicBezTo>
                    <a:cubicBezTo>
                      <a:pt x="608" y="1071"/>
                      <a:pt x="611" y="1064"/>
                      <a:pt x="616" y="1059"/>
                    </a:cubicBezTo>
                    <a:cubicBezTo>
                      <a:pt x="712" y="962"/>
                      <a:pt x="712" y="962"/>
                      <a:pt x="712" y="962"/>
                    </a:cubicBezTo>
                    <a:cubicBezTo>
                      <a:pt x="714" y="961"/>
                      <a:pt x="715" y="960"/>
                      <a:pt x="716" y="959"/>
                    </a:cubicBezTo>
                    <a:cubicBezTo>
                      <a:pt x="717" y="959"/>
                      <a:pt x="717" y="959"/>
                      <a:pt x="717" y="959"/>
                    </a:cubicBezTo>
                    <a:cubicBezTo>
                      <a:pt x="717" y="959"/>
                      <a:pt x="717" y="959"/>
                      <a:pt x="717" y="959"/>
                    </a:cubicBezTo>
                    <a:cubicBezTo>
                      <a:pt x="718" y="958"/>
                      <a:pt x="719" y="957"/>
                      <a:pt x="721" y="957"/>
                    </a:cubicBezTo>
                    <a:cubicBezTo>
                      <a:pt x="722" y="956"/>
                      <a:pt x="722" y="956"/>
                      <a:pt x="722" y="956"/>
                    </a:cubicBezTo>
                    <a:cubicBezTo>
                      <a:pt x="722" y="956"/>
                      <a:pt x="722" y="956"/>
                      <a:pt x="722" y="956"/>
                    </a:cubicBezTo>
                    <a:cubicBezTo>
                      <a:pt x="723" y="956"/>
                      <a:pt x="725" y="955"/>
                      <a:pt x="726" y="955"/>
                    </a:cubicBezTo>
                    <a:cubicBezTo>
                      <a:pt x="726" y="955"/>
                      <a:pt x="726" y="955"/>
                      <a:pt x="726" y="955"/>
                    </a:cubicBezTo>
                    <a:cubicBezTo>
                      <a:pt x="726" y="955"/>
                      <a:pt x="726" y="955"/>
                      <a:pt x="726" y="955"/>
                    </a:cubicBezTo>
                    <a:cubicBezTo>
                      <a:pt x="728" y="955"/>
                      <a:pt x="729" y="955"/>
                      <a:pt x="731" y="955"/>
                    </a:cubicBezTo>
                    <a:cubicBezTo>
                      <a:pt x="733" y="955"/>
                      <a:pt x="734" y="955"/>
                      <a:pt x="736" y="955"/>
                    </a:cubicBezTo>
                    <a:cubicBezTo>
                      <a:pt x="736" y="955"/>
                      <a:pt x="736" y="955"/>
                      <a:pt x="736" y="955"/>
                    </a:cubicBezTo>
                    <a:cubicBezTo>
                      <a:pt x="737" y="955"/>
                      <a:pt x="739" y="956"/>
                      <a:pt x="740" y="956"/>
                    </a:cubicBezTo>
                    <a:cubicBezTo>
                      <a:pt x="740" y="956"/>
                      <a:pt x="740" y="956"/>
                      <a:pt x="740" y="956"/>
                    </a:cubicBezTo>
                    <a:cubicBezTo>
                      <a:pt x="741" y="957"/>
                      <a:pt x="741" y="957"/>
                      <a:pt x="741" y="957"/>
                    </a:cubicBezTo>
                    <a:cubicBezTo>
                      <a:pt x="743" y="957"/>
                      <a:pt x="744" y="958"/>
                      <a:pt x="745" y="959"/>
                    </a:cubicBezTo>
                    <a:cubicBezTo>
                      <a:pt x="745" y="959"/>
                      <a:pt x="745" y="959"/>
                      <a:pt x="745" y="959"/>
                    </a:cubicBezTo>
                    <a:cubicBezTo>
                      <a:pt x="746" y="959"/>
                      <a:pt x="746" y="959"/>
                      <a:pt x="746" y="959"/>
                    </a:cubicBezTo>
                    <a:cubicBezTo>
                      <a:pt x="747" y="960"/>
                      <a:pt x="748" y="961"/>
                      <a:pt x="750" y="962"/>
                    </a:cubicBezTo>
                    <a:cubicBezTo>
                      <a:pt x="846" y="1059"/>
                      <a:pt x="846" y="1059"/>
                      <a:pt x="846" y="1059"/>
                    </a:cubicBezTo>
                    <a:cubicBezTo>
                      <a:pt x="851" y="1064"/>
                      <a:pt x="854" y="1071"/>
                      <a:pt x="854" y="1078"/>
                    </a:cubicBezTo>
                    <a:cubicBezTo>
                      <a:pt x="854" y="1085"/>
                      <a:pt x="851" y="1091"/>
                      <a:pt x="846" y="1096"/>
                    </a:cubicBezTo>
                    <a:cubicBezTo>
                      <a:pt x="841" y="1101"/>
                      <a:pt x="835" y="1104"/>
                      <a:pt x="828" y="1104"/>
                    </a:cubicBezTo>
                    <a:cubicBezTo>
                      <a:pt x="821" y="1104"/>
                      <a:pt x="814" y="1101"/>
                      <a:pt x="809" y="1096"/>
                    </a:cubicBezTo>
                    <a:cubicBezTo>
                      <a:pt x="757" y="1044"/>
                      <a:pt x="757" y="1044"/>
                      <a:pt x="757" y="1044"/>
                    </a:cubicBezTo>
                    <a:cubicBezTo>
                      <a:pt x="757" y="1428"/>
                      <a:pt x="757" y="1428"/>
                      <a:pt x="757" y="1428"/>
                    </a:cubicBezTo>
                    <a:cubicBezTo>
                      <a:pt x="862" y="1425"/>
                      <a:pt x="960" y="1399"/>
                      <a:pt x="1049" y="1356"/>
                    </a:cubicBezTo>
                    <a:cubicBezTo>
                      <a:pt x="1049" y="928"/>
                      <a:pt x="1049" y="928"/>
                      <a:pt x="1049" y="928"/>
                    </a:cubicBezTo>
                    <a:cubicBezTo>
                      <a:pt x="997" y="980"/>
                      <a:pt x="997" y="980"/>
                      <a:pt x="997" y="980"/>
                    </a:cubicBezTo>
                    <a:cubicBezTo>
                      <a:pt x="992" y="985"/>
                      <a:pt x="986" y="987"/>
                      <a:pt x="979" y="987"/>
                    </a:cubicBezTo>
                    <a:cubicBezTo>
                      <a:pt x="972" y="987"/>
                      <a:pt x="965" y="985"/>
                      <a:pt x="960" y="980"/>
                    </a:cubicBezTo>
                    <a:cubicBezTo>
                      <a:pt x="955" y="975"/>
                      <a:pt x="952" y="968"/>
                      <a:pt x="952" y="961"/>
                    </a:cubicBezTo>
                    <a:cubicBezTo>
                      <a:pt x="952" y="954"/>
                      <a:pt x="955" y="948"/>
                      <a:pt x="960" y="943"/>
                    </a:cubicBezTo>
                    <a:cubicBezTo>
                      <a:pt x="1057" y="846"/>
                      <a:pt x="1057" y="846"/>
                      <a:pt x="1057" y="846"/>
                    </a:cubicBezTo>
                    <a:cubicBezTo>
                      <a:pt x="1058" y="845"/>
                      <a:pt x="1059" y="844"/>
                      <a:pt x="1061" y="843"/>
                    </a:cubicBezTo>
                    <a:cubicBezTo>
                      <a:pt x="1061" y="843"/>
                      <a:pt x="1061" y="843"/>
                      <a:pt x="1061" y="843"/>
                    </a:cubicBezTo>
                    <a:cubicBezTo>
                      <a:pt x="1061" y="842"/>
                      <a:pt x="1061" y="842"/>
                      <a:pt x="1061" y="842"/>
                    </a:cubicBezTo>
                    <a:cubicBezTo>
                      <a:pt x="1063" y="842"/>
                      <a:pt x="1064" y="841"/>
                      <a:pt x="1065" y="840"/>
                    </a:cubicBezTo>
                    <a:cubicBezTo>
                      <a:pt x="1066" y="840"/>
                      <a:pt x="1066" y="840"/>
                      <a:pt x="1066" y="840"/>
                    </a:cubicBezTo>
                    <a:cubicBezTo>
                      <a:pt x="1066" y="840"/>
                      <a:pt x="1066" y="840"/>
                      <a:pt x="1066" y="840"/>
                    </a:cubicBezTo>
                    <a:cubicBezTo>
                      <a:pt x="1068" y="839"/>
                      <a:pt x="1069" y="839"/>
                      <a:pt x="1070" y="839"/>
                    </a:cubicBezTo>
                    <a:cubicBezTo>
                      <a:pt x="1071" y="839"/>
                      <a:pt x="1071" y="839"/>
                      <a:pt x="1071" y="839"/>
                    </a:cubicBezTo>
                    <a:cubicBezTo>
                      <a:pt x="1071" y="839"/>
                      <a:pt x="1071" y="839"/>
                      <a:pt x="1071" y="839"/>
                    </a:cubicBezTo>
                    <a:cubicBezTo>
                      <a:pt x="1072" y="838"/>
                      <a:pt x="1074" y="838"/>
                      <a:pt x="1075" y="838"/>
                    </a:cubicBezTo>
                    <a:cubicBezTo>
                      <a:pt x="1077" y="838"/>
                      <a:pt x="1078" y="838"/>
                      <a:pt x="1080" y="839"/>
                    </a:cubicBezTo>
                    <a:cubicBezTo>
                      <a:pt x="1081" y="839"/>
                      <a:pt x="1081" y="839"/>
                      <a:pt x="1081" y="839"/>
                    </a:cubicBezTo>
                    <a:cubicBezTo>
                      <a:pt x="1082" y="839"/>
                      <a:pt x="1083" y="839"/>
                      <a:pt x="1085" y="840"/>
                    </a:cubicBezTo>
                    <a:cubicBezTo>
                      <a:pt x="1085" y="840"/>
                      <a:pt x="1085" y="840"/>
                      <a:pt x="1085" y="840"/>
                    </a:cubicBezTo>
                    <a:cubicBezTo>
                      <a:pt x="1086" y="840"/>
                      <a:pt x="1086" y="840"/>
                      <a:pt x="1086" y="840"/>
                    </a:cubicBezTo>
                    <a:cubicBezTo>
                      <a:pt x="1087" y="841"/>
                      <a:pt x="1088" y="842"/>
                      <a:pt x="1090" y="842"/>
                    </a:cubicBezTo>
                    <a:cubicBezTo>
                      <a:pt x="1090" y="843"/>
                      <a:pt x="1090" y="843"/>
                      <a:pt x="1090" y="843"/>
                    </a:cubicBezTo>
                    <a:cubicBezTo>
                      <a:pt x="1090" y="843"/>
                      <a:pt x="1090" y="843"/>
                      <a:pt x="1090" y="843"/>
                    </a:cubicBezTo>
                    <a:cubicBezTo>
                      <a:pt x="1092" y="844"/>
                      <a:pt x="1093" y="845"/>
                      <a:pt x="1094" y="846"/>
                    </a:cubicBezTo>
                    <a:cubicBezTo>
                      <a:pt x="1191" y="943"/>
                      <a:pt x="1191" y="943"/>
                      <a:pt x="1191" y="943"/>
                    </a:cubicBezTo>
                    <a:cubicBezTo>
                      <a:pt x="1196" y="948"/>
                      <a:pt x="1198" y="954"/>
                      <a:pt x="1198" y="961"/>
                    </a:cubicBezTo>
                    <a:cubicBezTo>
                      <a:pt x="1198" y="968"/>
                      <a:pt x="1196" y="975"/>
                      <a:pt x="1191" y="980"/>
                    </a:cubicBezTo>
                    <a:cubicBezTo>
                      <a:pt x="1186" y="985"/>
                      <a:pt x="1179" y="987"/>
                      <a:pt x="1172" y="987"/>
                    </a:cubicBezTo>
                    <a:cubicBezTo>
                      <a:pt x="1165" y="987"/>
                      <a:pt x="1158" y="985"/>
                      <a:pt x="1153" y="980"/>
                    </a:cubicBezTo>
                    <a:cubicBezTo>
                      <a:pt x="1102" y="928"/>
                      <a:pt x="1102" y="928"/>
                      <a:pt x="1102" y="928"/>
                    </a:cubicBezTo>
                    <a:cubicBezTo>
                      <a:pt x="1102" y="1328"/>
                      <a:pt x="1102" y="1328"/>
                      <a:pt x="1102" y="1328"/>
                    </a:cubicBezTo>
                    <a:cubicBezTo>
                      <a:pt x="1317" y="1200"/>
                      <a:pt x="1462" y="966"/>
                      <a:pt x="1462" y="698"/>
                    </a:cubicBezTo>
                    <a:lnTo>
                      <a:pt x="1402" y="698"/>
                    </a:lnTo>
                    <a:close/>
                  </a:path>
                </a:pathLst>
              </a:custGeom>
              <a:solidFill>
                <a:schemeClr val="tx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</p:grpSp>
      </p:grpSp>
      <p:sp>
        <p:nvSpPr>
          <p:cNvPr id="79" name="Rectangle 78"/>
          <p:cNvSpPr/>
          <p:nvPr/>
        </p:nvSpPr>
        <p:spPr>
          <a:xfrm>
            <a:off x="333375" y="1420690"/>
            <a:ext cx="495300" cy="86404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1200" b="1" dirty="0">
                <a:solidFill>
                  <a:srgbClr val="29BA74"/>
                </a:solidFill>
              </a:rPr>
              <a:t>Сервисы</a:t>
            </a:r>
          </a:p>
        </p:txBody>
      </p:sp>
      <p:sp>
        <p:nvSpPr>
          <p:cNvPr id="82" name="Rectangle 81"/>
          <p:cNvSpPr/>
          <p:nvPr/>
        </p:nvSpPr>
        <p:spPr>
          <a:xfrm>
            <a:off x="333375" y="2561194"/>
            <a:ext cx="495300" cy="86404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1200" b="1" dirty="0">
                <a:solidFill>
                  <a:srgbClr val="29BA74"/>
                </a:solidFill>
              </a:rPr>
              <a:t>Доступ на рынок</a:t>
            </a:r>
          </a:p>
        </p:txBody>
      </p:sp>
      <p:sp>
        <p:nvSpPr>
          <p:cNvPr id="83" name="Rectangle 82"/>
          <p:cNvSpPr/>
          <p:nvPr/>
        </p:nvSpPr>
        <p:spPr>
          <a:xfrm>
            <a:off x="333375" y="3803681"/>
            <a:ext cx="495300" cy="86404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vert270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1200" b="1" dirty="0">
                <a:solidFill>
                  <a:srgbClr val="29BA74"/>
                </a:solidFill>
              </a:rPr>
              <a:t>Базовые принципы</a:t>
            </a:r>
          </a:p>
        </p:txBody>
      </p:sp>
      <p:grpSp>
        <p:nvGrpSpPr>
          <p:cNvPr id="89" name="Group 88"/>
          <p:cNvGrpSpPr/>
          <p:nvPr/>
        </p:nvGrpSpPr>
        <p:grpSpPr>
          <a:xfrm>
            <a:off x="4009434" y="2086597"/>
            <a:ext cx="202406" cy="202469"/>
            <a:chOff x="982662" y="1847850"/>
            <a:chExt cx="269875" cy="269875"/>
          </a:xfrm>
        </p:grpSpPr>
        <p:sp>
          <p:nvSpPr>
            <p:cNvPr id="90" name="Oval 50"/>
            <p:cNvSpPr>
              <a:spLocks noChangeArrowheads="1"/>
            </p:cNvSpPr>
            <p:nvPr/>
          </p:nvSpPr>
          <p:spPr bwMode="auto">
            <a:xfrm>
              <a:off x="982662" y="1847850"/>
              <a:ext cx="269875" cy="269875"/>
            </a:xfrm>
            <a:prstGeom prst="ellipse">
              <a:avLst/>
            </a:prstGeom>
            <a:solidFill>
              <a:schemeClr val="tx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  <p:sp>
          <p:nvSpPr>
            <p:cNvPr id="91" name="Freeform 51"/>
            <p:cNvSpPr>
              <a:spLocks/>
            </p:cNvSpPr>
            <p:nvPr/>
          </p:nvSpPr>
          <p:spPr bwMode="auto">
            <a:xfrm>
              <a:off x="1082675" y="1895475"/>
              <a:ext cx="96837" cy="174625"/>
            </a:xfrm>
            <a:custGeom>
              <a:avLst/>
              <a:gdLst>
                <a:gd name="T0" fmla="*/ 6 w 61"/>
                <a:gd name="T1" fmla="*/ 0 h 110"/>
                <a:gd name="T2" fmla="*/ 0 w 61"/>
                <a:gd name="T3" fmla="*/ 7 h 110"/>
                <a:gd name="T4" fmla="*/ 48 w 61"/>
                <a:gd name="T5" fmla="*/ 55 h 110"/>
                <a:gd name="T6" fmla="*/ 0 w 61"/>
                <a:gd name="T7" fmla="*/ 104 h 110"/>
                <a:gd name="T8" fmla="*/ 6 w 61"/>
                <a:gd name="T9" fmla="*/ 110 h 110"/>
                <a:gd name="T10" fmla="*/ 54 w 61"/>
                <a:gd name="T11" fmla="*/ 62 h 110"/>
                <a:gd name="T12" fmla="*/ 61 w 61"/>
                <a:gd name="T13" fmla="*/ 55 h 110"/>
                <a:gd name="T14" fmla="*/ 54 w 61"/>
                <a:gd name="T15" fmla="*/ 49 h 110"/>
                <a:gd name="T16" fmla="*/ 6 w 61"/>
                <a:gd name="T17" fmla="*/ 0 h 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61" h="110">
                  <a:moveTo>
                    <a:pt x="6" y="0"/>
                  </a:moveTo>
                  <a:lnTo>
                    <a:pt x="0" y="7"/>
                  </a:lnTo>
                  <a:lnTo>
                    <a:pt x="48" y="55"/>
                  </a:lnTo>
                  <a:lnTo>
                    <a:pt x="0" y="104"/>
                  </a:lnTo>
                  <a:lnTo>
                    <a:pt x="6" y="110"/>
                  </a:lnTo>
                  <a:lnTo>
                    <a:pt x="54" y="62"/>
                  </a:lnTo>
                  <a:lnTo>
                    <a:pt x="61" y="55"/>
                  </a:lnTo>
                  <a:lnTo>
                    <a:pt x="54" y="49"/>
                  </a:lnTo>
                  <a:lnTo>
                    <a:pt x="6" y="0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chemeClr val="bg1"/>
                </a:solidFill>
              </a:endParaRPr>
            </a:p>
          </p:txBody>
        </p:sp>
      </p:grpSp>
      <p:sp>
        <p:nvSpPr>
          <p:cNvPr id="92" name="Rectangle 91"/>
          <p:cNvSpPr/>
          <p:nvPr/>
        </p:nvSpPr>
        <p:spPr>
          <a:xfrm>
            <a:off x="4314823" y="1937793"/>
            <a:ext cx="4476749" cy="32614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r>
              <a:rPr lang="ru-RU" sz="1100" dirty="0">
                <a:solidFill>
                  <a:srgbClr val="575757"/>
                </a:solidFill>
              </a:rPr>
              <a:t>Равные условия для игроков с одинаковыми сервисами (в </a:t>
            </a:r>
            <a:r>
              <a:rPr lang="ru-RU" sz="1100" dirty="0" err="1">
                <a:solidFill>
                  <a:srgbClr val="575757"/>
                </a:solidFill>
              </a:rPr>
              <a:t>т.ч</a:t>
            </a:r>
            <a:r>
              <a:rPr lang="ru-RU" sz="1100" dirty="0">
                <a:solidFill>
                  <a:srgbClr val="575757"/>
                </a:solidFill>
              </a:rPr>
              <a:t>. ОТТ и телеком) повысят конкуренцию, </a:t>
            </a:r>
            <a:r>
              <a:rPr lang="ru-RU" sz="1100" b="1" dirty="0">
                <a:solidFill>
                  <a:srgbClr val="575757"/>
                </a:solidFill>
              </a:rPr>
              <a:t>а значит качество сервисов</a:t>
            </a:r>
          </a:p>
        </p:txBody>
      </p:sp>
      <p:grpSp>
        <p:nvGrpSpPr>
          <p:cNvPr id="69" name="bcgIcons_Luxury">
            <a:extLst>
              <a:ext uri="{FF2B5EF4-FFF2-40B4-BE49-F238E27FC236}">
                <a16:creationId xmlns:a16="http://schemas.microsoft.com/office/drawing/2014/main" xmlns="" id="{EFCE3F76-B300-4580-B060-B64F1C104DE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4041" y="-16683"/>
            <a:ext cx="438460" cy="439002"/>
            <a:chOff x="1682" y="0"/>
            <a:chExt cx="4316" cy="4320"/>
          </a:xfrm>
        </p:grpSpPr>
        <p:sp>
          <p:nvSpPr>
            <p:cNvPr id="78" name="AutoShape 3">
              <a:extLst>
                <a:ext uri="{FF2B5EF4-FFF2-40B4-BE49-F238E27FC236}">
                  <a16:creationId xmlns:a16="http://schemas.microsoft.com/office/drawing/2014/main" xmlns="" id="{7056A3AD-A62B-4F42-9FB2-0AC35A71E79D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0" name="Freeform 5">
              <a:extLst>
                <a:ext uri="{FF2B5EF4-FFF2-40B4-BE49-F238E27FC236}">
                  <a16:creationId xmlns:a16="http://schemas.microsoft.com/office/drawing/2014/main" xmlns="" id="{65A8DB6F-AE7F-4035-8AC5-1FD5AB7C850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41" y="536"/>
              <a:ext cx="3398" cy="2916"/>
            </a:xfrm>
            <a:custGeom>
              <a:avLst/>
              <a:gdLst>
                <a:gd name="T0" fmla="*/ 182 w 1814"/>
                <a:gd name="T1" fmla="*/ 929 h 1555"/>
                <a:gd name="T2" fmla="*/ 22 w 1814"/>
                <a:gd name="T3" fmla="*/ 929 h 1555"/>
                <a:gd name="T4" fmla="*/ 0 w 1814"/>
                <a:gd name="T5" fmla="*/ 907 h 1555"/>
                <a:gd name="T6" fmla="*/ 22 w 1814"/>
                <a:gd name="T7" fmla="*/ 885 h 1555"/>
                <a:gd name="T8" fmla="*/ 182 w 1814"/>
                <a:gd name="T9" fmla="*/ 885 h 1555"/>
                <a:gd name="T10" fmla="*/ 204 w 1814"/>
                <a:gd name="T11" fmla="*/ 907 h 1555"/>
                <a:gd name="T12" fmla="*/ 182 w 1814"/>
                <a:gd name="T13" fmla="*/ 929 h 1555"/>
                <a:gd name="T14" fmla="*/ 1814 w 1814"/>
                <a:gd name="T15" fmla="*/ 907 h 1555"/>
                <a:gd name="T16" fmla="*/ 1792 w 1814"/>
                <a:gd name="T17" fmla="*/ 885 h 1555"/>
                <a:gd name="T18" fmla="*/ 1632 w 1814"/>
                <a:gd name="T19" fmla="*/ 885 h 1555"/>
                <a:gd name="T20" fmla="*/ 1610 w 1814"/>
                <a:gd name="T21" fmla="*/ 907 h 1555"/>
                <a:gd name="T22" fmla="*/ 1632 w 1814"/>
                <a:gd name="T23" fmla="*/ 929 h 1555"/>
                <a:gd name="T24" fmla="*/ 1792 w 1814"/>
                <a:gd name="T25" fmla="*/ 929 h 1555"/>
                <a:gd name="T26" fmla="*/ 1814 w 1814"/>
                <a:gd name="T27" fmla="*/ 907 h 1555"/>
                <a:gd name="T28" fmla="*/ 297 w 1814"/>
                <a:gd name="T29" fmla="*/ 1548 h 1555"/>
                <a:gd name="T30" fmla="*/ 410 w 1814"/>
                <a:gd name="T31" fmla="*/ 1435 h 1555"/>
                <a:gd name="T32" fmla="*/ 410 w 1814"/>
                <a:gd name="T33" fmla="*/ 1404 h 1555"/>
                <a:gd name="T34" fmla="*/ 379 w 1814"/>
                <a:gd name="T35" fmla="*/ 1404 h 1555"/>
                <a:gd name="T36" fmla="*/ 266 w 1814"/>
                <a:gd name="T37" fmla="*/ 1517 h 1555"/>
                <a:gd name="T38" fmla="*/ 266 w 1814"/>
                <a:gd name="T39" fmla="*/ 1548 h 1555"/>
                <a:gd name="T40" fmla="*/ 281 w 1814"/>
                <a:gd name="T41" fmla="*/ 1555 h 1555"/>
                <a:gd name="T42" fmla="*/ 297 w 1814"/>
                <a:gd name="T43" fmla="*/ 1548 h 1555"/>
                <a:gd name="T44" fmla="*/ 1435 w 1814"/>
                <a:gd name="T45" fmla="*/ 410 h 1555"/>
                <a:gd name="T46" fmla="*/ 1548 w 1814"/>
                <a:gd name="T47" fmla="*/ 297 h 1555"/>
                <a:gd name="T48" fmla="*/ 1548 w 1814"/>
                <a:gd name="T49" fmla="*/ 266 h 1555"/>
                <a:gd name="T50" fmla="*/ 1517 w 1814"/>
                <a:gd name="T51" fmla="*/ 266 h 1555"/>
                <a:gd name="T52" fmla="*/ 1404 w 1814"/>
                <a:gd name="T53" fmla="*/ 379 h 1555"/>
                <a:gd name="T54" fmla="*/ 1404 w 1814"/>
                <a:gd name="T55" fmla="*/ 410 h 1555"/>
                <a:gd name="T56" fmla="*/ 1419 w 1814"/>
                <a:gd name="T57" fmla="*/ 417 h 1555"/>
                <a:gd name="T58" fmla="*/ 1435 w 1814"/>
                <a:gd name="T59" fmla="*/ 410 h 1555"/>
                <a:gd name="T60" fmla="*/ 929 w 1814"/>
                <a:gd name="T61" fmla="*/ 182 h 1555"/>
                <a:gd name="T62" fmla="*/ 929 w 1814"/>
                <a:gd name="T63" fmla="*/ 22 h 1555"/>
                <a:gd name="T64" fmla="*/ 907 w 1814"/>
                <a:gd name="T65" fmla="*/ 0 h 1555"/>
                <a:gd name="T66" fmla="*/ 885 w 1814"/>
                <a:gd name="T67" fmla="*/ 22 h 1555"/>
                <a:gd name="T68" fmla="*/ 885 w 1814"/>
                <a:gd name="T69" fmla="*/ 182 h 1555"/>
                <a:gd name="T70" fmla="*/ 907 w 1814"/>
                <a:gd name="T71" fmla="*/ 204 h 1555"/>
                <a:gd name="T72" fmla="*/ 929 w 1814"/>
                <a:gd name="T73" fmla="*/ 182 h 1555"/>
                <a:gd name="T74" fmla="*/ 1548 w 1814"/>
                <a:gd name="T75" fmla="*/ 1548 h 1555"/>
                <a:gd name="T76" fmla="*/ 1548 w 1814"/>
                <a:gd name="T77" fmla="*/ 1517 h 1555"/>
                <a:gd name="T78" fmla="*/ 1435 w 1814"/>
                <a:gd name="T79" fmla="*/ 1404 h 1555"/>
                <a:gd name="T80" fmla="*/ 1404 w 1814"/>
                <a:gd name="T81" fmla="*/ 1404 h 1555"/>
                <a:gd name="T82" fmla="*/ 1404 w 1814"/>
                <a:gd name="T83" fmla="*/ 1435 h 1555"/>
                <a:gd name="T84" fmla="*/ 1517 w 1814"/>
                <a:gd name="T85" fmla="*/ 1548 h 1555"/>
                <a:gd name="T86" fmla="*/ 1533 w 1814"/>
                <a:gd name="T87" fmla="*/ 1555 h 1555"/>
                <a:gd name="T88" fmla="*/ 1548 w 1814"/>
                <a:gd name="T89" fmla="*/ 1548 h 1555"/>
                <a:gd name="T90" fmla="*/ 410 w 1814"/>
                <a:gd name="T91" fmla="*/ 410 h 1555"/>
                <a:gd name="T92" fmla="*/ 410 w 1814"/>
                <a:gd name="T93" fmla="*/ 379 h 1555"/>
                <a:gd name="T94" fmla="*/ 297 w 1814"/>
                <a:gd name="T95" fmla="*/ 266 h 1555"/>
                <a:gd name="T96" fmla="*/ 266 w 1814"/>
                <a:gd name="T97" fmla="*/ 266 h 1555"/>
                <a:gd name="T98" fmla="*/ 266 w 1814"/>
                <a:gd name="T99" fmla="*/ 297 h 1555"/>
                <a:gd name="T100" fmla="*/ 379 w 1814"/>
                <a:gd name="T101" fmla="*/ 410 h 1555"/>
                <a:gd name="T102" fmla="*/ 395 w 1814"/>
                <a:gd name="T103" fmla="*/ 417 h 1555"/>
                <a:gd name="T104" fmla="*/ 410 w 1814"/>
                <a:gd name="T105" fmla="*/ 410 h 1555"/>
                <a:gd name="T106" fmla="*/ 1019 w 1814"/>
                <a:gd name="T107" fmla="*/ 847 h 1555"/>
                <a:gd name="T108" fmla="*/ 1137 w 1814"/>
                <a:gd name="T109" fmla="*/ 730 h 1555"/>
                <a:gd name="T110" fmla="*/ 1019 w 1814"/>
                <a:gd name="T111" fmla="*/ 612 h 1555"/>
                <a:gd name="T112" fmla="*/ 901 w 1814"/>
                <a:gd name="T113" fmla="*/ 730 h 1555"/>
                <a:gd name="T114" fmla="*/ 1019 w 1814"/>
                <a:gd name="T115" fmla="*/ 847 h 1555"/>
                <a:gd name="T116" fmla="*/ 766 w 1814"/>
                <a:gd name="T117" fmla="*/ 1252 h 1555"/>
                <a:gd name="T118" fmla="*/ 884 w 1814"/>
                <a:gd name="T119" fmla="*/ 1135 h 1555"/>
                <a:gd name="T120" fmla="*/ 766 w 1814"/>
                <a:gd name="T121" fmla="*/ 1017 h 1555"/>
                <a:gd name="T122" fmla="*/ 649 w 1814"/>
                <a:gd name="T123" fmla="*/ 1135 h 1555"/>
                <a:gd name="T124" fmla="*/ 766 w 1814"/>
                <a:gd name="T125" fmla="*/ 1252 h 1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814" h="1555">
                  <a:moveTo>
                    <a:pt x="182" y="929"/>
                  </a:moveTo>
                  <a:cubicBezTo>
                    <a:pt x="22" y="929"/>
                    <a:pt x="22" y="929"/>
                    <a:pt x="22" y="929"/>
                  </a:cubicBezTo>
                  <a:cubicBezTo>
                    <a:pt x="10" y="929"/>
                    <a:pt x="0" y="919"/>
                    <a:pt x="0" y="907"/>
                  </a:cubicBezTo>
                  <a:cubicBezTo>
                    <a:pt x="0" y="895"/>
                    <a:pt x="10" y="885"/>
                    <a:pt x="22" y="885"/>
                  </a:cubicBezTo>
                  <a:cubicBezTo>
                    <a:pt x="182" y="885"/>
                    <a:pt x="182" y="885"/>
                    <a:pt x="182" y="885"/>
                  </a:cubicBezTo>
                  <a:cubicBezTo>
                    <a:pt x="194" y="885"/>
                    <a:pt x="204" y="895"/>
                    <a:pt x="204" y="907"/>
                  </a:cubicBezTo>
                  <a:cubicBezTo>
                    <a:pt x="204" y="919"/>
                    <a:pt x="194" y="929"/>
                    <a:pt x="182" y="929"/>
                  </a:cubicBezTo>
                  <a:close/>
                  <a:moveTo>
                    <a:pt x="1814" y="907"/>
                  </a:moveTo>
                  <a:cubicBezTo>
                    <a:pt x="1814" y="895"/>
                    <a:pt x="1804" y="885"/>
                    <a:pt x="1792" y="885"/>
                  </a:cubicBezTo>
                  <a:cubicBezTo>
                    <a:pt x="1632" y="885"/>
                    <a:pt x="1632" y="885"/>
                    <a:pt x="1632" y="885"/>
                  </a:cubicBezTo>
                  <a:cubicBezTo>
                    <a:pt x="1620" y="885"/>
                    <a:pt x="1610" y="895"/>
                    <a:pt x="1610" y="907"/>
                  </a:cubicBezTo>
                  <a:cubicBezTo>
                    <a:pt x="1610" y="919"/>
                    <a:pt x="1620" y="929"/>
                    <a:pt x="1632" y="929"/>
                  </a:cubicBezTo>
                  <a:cubicBezTo>
                    <a:pt x="1792" y="929"/>
                    <a:pt x="1792" y="929"/>
                    <a:pt x="1792" y="929"/>
                  </a:cubicBezTo>
                  <a:cubicBezTo>
                    <a:pt x="1804" y="929"/>
                    <a:pt x="1814" y="919"/>
                    <a:pt x="1814" y="907"/>
                  </a:cubicBezTo>
                  <a:close/>
                  <a:moveTo>
                    <a:pt x="297" y="1548"/>
                  </a:moveTo>
                  <a:cubicBezTo>
                    <a:pt x="410" y="1435"/>
                    <a:pt x="410" y="1435"/>
                    <a:pt x="410" y="1435"/>
                  </a:cubicBezTo>
                  <a:cubicBezTo>
                    <a:pt x="419" y="1426"/>
                    <a:pt x="419" y="1412"/>
                    <a:pt x="410" y="1404"/>
                  </a:cubicBezTo>
                  <a:cubicBezTo>
                    <a:pt x="402" y="1395"/>
                    <a:pt x="388" y="1395"/>
                    <a:pt x="379" y="1404"/>
                  </a:cubicBezTo>
                  <a:cubicBezTo>
                    <a:pt x="266" y="1517"/>
                    <a:pt x="266" y="1517"/>
                    <a:pt x="266" y="1517"/>
                  </a:cubicBezTo>
                  <a:cubicBezTo>
                    <a:pt x="257" y="1526"/>
                    <a:pt x="257" y="1540"/>
                    <a:pt x="266" y="1548"/>
                  </a:cubicBezTo>
                  <a:cubicBezTo>
                    <a:pt x="270" y="1552"/>
                    <a:pt x="276" y="1555"/>
                    <a:pt x="281" y="1555"/>
                  </a:cubicBezTo>
                  <a:cubicBezTo>
                    <a:pt x="287" y="1555"/>
                    <a:pt x="293" y="1552"/>
                    <a:pt x="297" y="1548"/>
                  </a:cubicBezTo>
                  <a:close/>
                  <a:moveTo>
                    <a:pt x="1435" y="410"/>
                  </a:moveTo>
                  <a:cubicBezTo>
                    <a:pt x="1548" y="297"/>
                    <a:pt x="1548" y="297"/>
                    <a:pt x="1548" y="297"/>
                  </a:cubicBezTo>
                  <a:cubicBezTo>
                    <a:pt x="1557" y="288"/>
                    <a:pt x="1557" y="275"/>
                    <a:pt x="1548" y="266"/>
                  </a:cubicBezTo>
                  <a:cubicBezTo>
                    <a:pt x="1540" y="257"/>
                    <a:pt x="1526" y="257"/>
                    <a:pt x="1517" y="266"/>
                  </a:cubicBezTo>
                  <a:cubicBezTo>
                    <a:pt x="1404" y="379"/>
                    <a:pt x="1404" y="379"/>
                    <a:pt x="1404" y="379"/>
                  </a:cubicBezTo>
                  <a:cubicBezTo>
                    <a:pt x="1395" y="388"/>
                    <a:pt x="1395" y="402"/>
                    <a:pt x="1404" y="410"/>
                  </a:cubicBezTo>
                  <a:cubicBezTo>
                    <a:pt x="1408" y="414"/>
                    <a:pt x="1414" y="417"/>
                    <a:pt x="1419" y="417"/>
                  </a:cubicBezTo>
                  <a:cubicBezTo>
                    <a:pt x="1425" y="417"/>
                    <a:pt x="1431" y="414"/>
                    <a:pt x="1435" y="410"/>
                  </a:cubicBezTo>
                  <a:close/>
                  <a:moveTo>
                    <a:pt x="929" y="182"/>
                  </a:moveTo>
                  <a:cubicBezTo>
                    <a:pt x="929" y="22"/>
                    <a:pt x="929" y="22"/>
                    <a:pt x="929" y="22"/>
                  </a:cubicBezTo>
                  <a:cubicBezTo>
                    <a:pt x="929" y="10"/>
                    <a:pt x="919" y="0"/>
                    <a:pt x="907" y="0"/>
                  </a:cubicBezTo>
                  <a:cubicBezTo>
                    <a:pt x="895" y="0"/>
                    <a:pt x="885" y="10"/>
                    <a:pt x="885" y="22"/>
                  </a:cubicBezTo>
                  <a:cubicBezTo>
                    <a:pt x="885" y="182"/>
                    <a:pt x="885" y="182"/>
                    <a:pt x="885" y="182"/>
                  </a:cubicBezTo>
                  <a:cubicBezTo>
                    <a:pt x="885" y="195"/>
                    <a:pt x="895" y="204"/>
                    <a:pt x="907" y="204"/>
                  </a:cubicBezTo>
                  <a:cubicBezTo>
                    <a:pt x="919" y="204"/>
                    <a:pt x="929" y="195"/>
                    <a:pt x="929" y="182"/>
                  </a:cubicBezTo>
                  <a:close/>
                  <a:moveTo>
                    <a:pt x="1548" y="1548"/>
                  </a:moveTo>
                  <a:cubicBezTo>
                    <a:pt x="1557" y="1540"/>
                    <a:pt x="1557" y="1526"/>
                    <a:pt x="1548" y="1517"/>
                  </a:cubicBezTo>
                  <a:cubicBezTo>
                    <a:pt x="1435" y="1404"/>
                    <a:pt x="1435" y="1404"/>
                    <a:pt x="1435" y="1404"/>
                  </a:cubicBezTo>
                  <a:cubicBezTo>
                    <a:pt x="1426" y="1395"/>
                    <a:pt x="1412" y="1395"/>
                    <a:pt x="1404" y="1404"/>
                  </a:cubicBezTo>
                  <a:cubicBezTo>
                    <a:pt x="1395" y="1412"/>
                    <a:pt x="1395" y="1426"/>
                    <a:pt x="1404" y="1435"/>
                  </a:cubicBezTo>
                  <a:cubicBezTo>
                    <a:pt x="1517" y="1548"/>
                    <a:pt x="1517" y="1548"/>
                    <a:pt x="1517" y="1548"/>
                  </a:cubicBezTo>
                  <a:cubicBezTo>
                    <a:pt x="1521" y="1552"/>
                    <a:pt x="1527" y="1555"/>
                    <a:pt x="1533" y="1555"/>
                  </a:cubicBezTo>
                  <a:cubicBezTo>
                    <a:pt x="1538" y="1555"/>
                    <a:pt x="1544" y="1552"/>
                    <a:pt x="1548" y="1548"/>
                  </a:cubicBezTo>
                  <a:close/>
                  <a:moveTo>
                    <a:pt x="410" y="410"/>
                  </a:moveTo>
                  <a:cubicBezTo>
                    <a:pt x="419" y="402"/>
                    <a:pt x="419" y="388"/>
                    <a:pt x="410" y="379"/>
                  </a:cubicBezTo>
                  <a:cubicBezTo>
                    <a:pt x="297" y="266"/>
                    <a:pt x="297" y="266"/>
                    <a:pt x="297" y="266"/>
                  </a:cubicBezTo>
                  <a:cubicBezTo>
                    <a:pt x="288" y="257"/>
                    <a:pt x="274" y="257"/>
                    <a:pt x="266" y="266"/>
                  </a:cubicBezTo>
                  <a:cubicBezTo>
                    <a:pt x="257" y="275"/>
                    <a:pt x="257" y="288"/>
                    <a:pt x="266" y="297"/>
                  </a:cubicBezTo>
                  <a:cubicBezTo>
                    <a:pt x="379" y="410"/>
                    <a:pt x="379" y="410"/>
                    <a:pt x="379" y="410"/>
                  </a:cubicBezTo>
                  <a:cubicBezTo>
                    <a:pt x="383" y="414"/>
                    <a:pt x="389" y="417"/>
                    <a:pt x="395" y="417"/>
                  </a:cubicBezTo>
                  <a:cubicBezTo>
                    <a:pt x="400" y="417"/>
                    <a:pt x="406" y="414"/>
                    <a:pt x="410" y="410"/>
                  </a:cubicBezTo>
                  <a:close/>
                  <a:moveTo>
                    <a:pt x="1019" y="847"/>
                  </a:moveTo>
                  <a:cubicBezTo>
                    <a:pt x="1019" y="782"/>
                    <a:pt x="1072" y="730"/>
                    <a:pt x="1137" y="730"/>
                  </a:cubicBezTo>
                  <a:cubicBezTo>
                    <a:pt x="1072" y="730"/>
                    <a:pt x="1019" y="677"/>
                    <a:pt x="1019" y="612"/>
                  </a:cubicBezTo>
                  <a:cubicBezTo>
                    <a:pt x="1019" y="677"/>
                    <a:pt x="966" y="730"/>
                    <a:pt x="901" y="730"/>
                  </a:cubicBezTo>
                  <a:cubicBezTo>
                    <a:pt x="966" y="730"/>
                    <a:pt x="1019" y="782"/>
                    <a:pt x="1019" y="847"/>
                  </a:cubicBezTo>
                  <a:close/>
                  <a:moveTo>
                    <a:pt x="766" y="1252"/>
                  </a:moveTo>
                  <a:cubicBezTo>
                    <a:pt x="766" y="1187"/>
                    <a:pt x="819" y="1135"/>
                    <a:pt x="884" y="1135"/>
                  </a:cubicBezTo>
                  <a:cubicBezTo>
                    <a:pt x="819" y="1135"/>
                    <a:pt x="766" y="1082"/>
                    <a:pt x="766" y="1017"/>
                  </a:cubicBezTo>
                  <a:cubicBezTo>
                    <a:pt x="766" y="1082"/>
                    <a:pt x="714" y="1135"/>
                    <a:pt x="649" y="1135"/>
                  </a:cubicBezTo>
                  <a:cubicBezTo>
                    <a:pt x="714" y="1135"/>
                    <a:pt x="766" y="1187"/>
                    <a:pt x="766" y="1252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81" name="Freeform 6">
              <a:extLst>
                <a:ext uri="{FF2B5EF4-FFF2-40B4-BE49-F238E27FC236}">
                  <a16:creationId xmlns:a16="http://schemas.microsoft.com/office/drawing/2014/main" xmlns="" id="{7FD456D1-C4FF-422E-95BC-3A025F6CFD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0" y="1553"/>
              <a:ext cx="2260" cy="1944"/>
            </a:xfrm>
            <a:custGeom>
              <a:avLst/>
              <a:gdLst>
                <a:gd name="T0" fmla="*/ 1205 w 1206"/>
                <a:gd name="T1" fmla="*/ 372 h 1037"/>
                <a:gd name="T2" fmla="*/ 1206 w 1206"/>
                <a:gd name="T3" fmla="*/ 367 h 1037"/>
                <a:gd name="T4" fmla="*/ 1206 w 1206"/>
                <a:gd name="T5" fmla="*/ 360 h 1037"/>
                <a:gd name="T6" fmla="*/ 1204 w 1206"/>
                <a:gd name="T7" fmla="*/ 355 h 1037"/>
                <a:gd name="T8" fmla="*/ 962 w 1206"/>
                <a:gd name="T9" fmla="*/ 9 h 1037"/>
                <a:gd name="T10" fmla="*/ 959 w 1206"/>
                <a:gd name="T11" fmla="*/ 5 h 1037"/>
                <a:gd name="T12" fmla="*/ 956 w 1206"/>
                <a:gd name="T13" fmla="*/ 3 h 1037"/>
                <a:gd name="T14" fmla="*/ 952 w 1206"/>
                <a:gd name="T15" fmla="*/ 1 h 1037"/>
                <a:gd name="T16" fmla="*/ 950 w 1206"/>
                <a:gd name="T17" fmla="*/ 0 h 1037"/>
                <a:gd name="T18" fmla="*/ 944 w 1206"/>
                <a:gd name="T19" fmla="*/ 0 h 1037"/>
                <a:gd name="T20" fmla="*/ 262 w 1206"/>
                <a:gd name="T21" fmla="*/ 0 h 1037"/>
                <a:gd name="T22" fmla="*/ 259 w 1206"/>
                <a:gd name="T23" fmla="*/ 0 h 1037"/>
                <a:gd name="T24" fmla="*/ 255 w 1206"/>
                <a:gd name="T25" fmla="*/ 1 h 1037"/>
                <a:gd name="T26" fmla="*/ 252 w 1206"/>
                <a:gd name="T27" fmla="*/ 2 h 1037"/>
                <a:gd name="T28" fmla="*/ 249 w 1206"/>
                <a:gd name="T29" fmla="*/ 4 h 1037"/>
                <a:gd name="T30" fmla="*/ 246 w 1206"/>
                <a:gd name="T31" fmla="*/ 7 h 1037"/>
                <a:gd name="T32" fmla="*/ 244 w 1206"/>
                <a:gd name="T33" fmla="*/ 9 h 1037"/>
                <a:gd name="T34" fmla="*/ 2 w 1206"/>
                <a:gd name="T35" fmla="*/ 356 h 1037"/>
                <a:gd name="T36" fmla="*/ 0 w 1206"/>
                <a:gd name="T37" fmla="*/ 364 h 1037"/>
                <a:gd name="T38" fmla="*/ 0 w 1206"/>
                <a:gd name="T39" fmla="*/ 369 h 1037"/>
                <a:gd name="T40" fmla="*/ 2 w 1206"/>
                <a:gd name="T41" fmla="*/ 375 h 1037"/>
                <a:gd name="T42" fmla="*/ 5 w 1206"/>
                <a:gd name="T43" fmla="*/ 379 h 1037"/>
                <a:gd name="T44" fmla="*/ 589 w 1206"/>
                <a:gd name="T45" fmla="*/ 1030 h 1037"/>
                <a:gd name="T46" fmla="*/ 592 w 1206"/>
                <a:gd name="T47" fmla="*/ 1033 h 1037"/>
                <a:gd name="T48" fmla="*/ 598 w 1206"/>
                <a:gd name="T49" fmla="*/ 1036 h 1037"/>
                <a:gd name="T50" fmla="*/ 602 w 1206"/>
                <a:gd name="T51" fmla="*/ 1037 h 1037"/>
                <a:gd name="T52" fmla="*/ 608 w 1206"/>
                <a:gd name="T53" fmla="*/ 1037 h 1037"/>
                <a:gd name="T54" fmla="*/ 612 w 1206"/>
                <a:gd name="T55" fmla="*/ 1036 h 1037"/>
                <a:gd name="T56" fmla="*/ 618 w 1206"/>
                <a:gd name="T57" fmla="*/ 1033 h 1037"/>
                <a:gd name="T58" fmla="*/ 621 w 1206"/>
                <a:gd name="T59" fmla="*/ 1030 h 1037"/>
                <a:gd name="T60" fmla="*/ 1201 w 1206"/>
                <a:gd name="T61" fmla="*/ 379 h 1037"/>
                <a:gd name="T62" fmla="*/ 786 w 1206"/>
                <a:gd name="T63" fmla="*/ 343 h 1037"/>
                <a:gd name="T64" fmla="*/ 645 w 1206"/>
                <a:gd name="T65" fmla="*/ 127 h 1037"/>
                <a:gd name="T66" fmla="*/ 913 w 1206"/>
                <a:gd name="T67" fmla="*/ 44 h 1037"/>
                <a:gd name="T68" fmla="*/ 755 w 1206"/>
                <a:gd name="T69" fmla="*/ 295 h 1037"/>
                <a:gd name="T70" fmla="*/ 293 w 1206"/>
                <a:gd name="T71" fmla="*/ 44 h 1037"/>
                <a:gd name="T72" fmla="*/ 408 w 1206"/>
                <a:gd name="T73" fmla="*/ 512 h 1037"/>
                <a:gd name="T74" fmla="*/ 796 w 1206"/>
                <a:gd name="T75" fmla="*/ 387 h 1037"/>
                <a:gd name="T76" fmla="*/ 490 w 1206"/>
                <a:gd name="T77" fmla="*/ 750 h 1037"/>
                <a:gd name="T78" fmla="*/ 365 w 1206"/>
                <a:gd name="T79" fmla="*/ 387 h 1037"/>
                <a:gd name="T80" fmla="*/ 1135 w 1206"/>
                <a:gd name="T81" fmla="*/ 387 h 1037"/>
                <a:gd name="T82" fmla="*/ 858 w 1206"/>
                <a:gd name="T83" fmla="*/ 343 h 1037"/>
                <a:gd name="T84" fmla="*/ 858 w 1206"/>
                <a:gd name="T85" fmla="*/ 343 h 1037"/>
                <a:gd name="T86" fmla="*/ 64 w 1206"/>
                <a:gd name="T87" fmla="*/ 343 h 10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206" h="1037">
                  <a:moveTo>
                    <a:pt x="1204" y="376"/>
                  </a:moveTo>
                  <a:cubicBezTo>
                    <a:pt x="1204" y="376"/>
                    <a:pt x="1204" y="375"/>
                    <a:pt x="1204" y="375"/>
                  </a:cubicBezTo>
                  <a:cubicBezTo>
                    <a:pt x="1204" y="374"/>
                    <a:pt x="1205" y="373"/>
                    <a:pt x="1205" y="372"/>
                  </a:cubicBezTo>
                  <a:cubicBezTo>
                    <a:pt x="1205" y="372"/>
                    <a:pt x="1205" y="372"/>
                    <a:pt x="1205" y="372"/>
                  </a:cubicBezTo>
                  <a:cubicBezTo>
                    <a:pt x="1206" y="371"/>
                    <a:pt x="1206" y="370"/>
                    <a:pt x="1206" y="369"/>
                  </a:cubicBezTo>
                  <a:cubicBezTo>
                    <a:pt x="1206" y="368"/>
                    <a:pt x="1206" y="368"/>
                    <a:pt x="1206" y="367"/>
                  </a:cubicBezTo>
                  <a:cubicBezTo>
                    <a:pt x="1206" y="366"/>
                    <a:pt x="1206" y="365"/>
                    <a:pt x="1206" y="364"/>
                  </a:cubicBezTo>
                  <a:cubicBezTo>
                    <a:pt x="1206" y="364"/>
                    <a:pt x="1206" y="364"/>
                    <a:pt x="1206" y="364"/>
                  </a:cubicBezTo>
                  <a:cubicBezTo>
                    <a:pt x="1206" y="362"/>
                    <a:pt x="1206" y="361"/>
                    <a:pt x="1206" y="360"/>
                  </a:cubicBezTo>
                  <a:cubicBezTo>
                    <a:pt x="1206" y="360"/>
                    <a:pt x="1206" y="359"/>
                    <a:pt x="1205" y="359"/>
                  </a:cubicBezTo>
                  <a:cubicBezTo>
                    <a:pt x="1205" y="358"/>
                    <a:pt x="1205" y="357"/>
                    <a:pt x="1204" y="356"/>
                  </a:cubicBezTo>
                  <a:cubicBezTo>
                    <a:pt x="1204" y="356"/>
                    <a:pt x="1204" y="356"/>
                    <a:pt x="1204" y="355"/>
                  </a:cubicBezTo>
                  <a:cubicBezTo>
                    <a:pt x="1204" y="354"/>
                    <a:pt x="1203" y="353"/>
                    <a:pt x="1202" y="352"/>
                  </a:cubicBezTo>
                  <a:cubicBezTo>
                    <a:pt x="962" y="9"/>
                    <a:pt x="962" y="9"/>
                    <a:pt x="962" y="9"/>
                  </a:cubicBezTo>
                  <a:cubicBezTo>
                    <a:pt x="962" y="9"/>
                    <a:pt x="962" y="9"/>
                    <a:pt x="962" y="9"/>
                  </a:cubicBezTo>
                  <a:cubicBezTo>
                    <a:pt x="962" y="8"/>
                    <a:pt x="961" y="8"/>
                    <a:pt x="961" y="7"/>
                  </a:cubicBezTo>
                  <a:cubicBezTo>
                    <a:pt x="961" y="7"/>
                    <a:pt x="961" y="7"/>
                    <a:pt x="960" y="7"/>
                  </a:cubicBezTo>
                  <a:cubicBezTo>
                    <a:pt x="960" y="6"/>
                    <a:pt x="959" y="6"/>
                    <a:pt x="959" y="5"/>
                  </a:cubicBezTo>
                  <a:cubicBezTo>
                    <a:pt x="959" y="5"/>
                    <a:pt x="958" y="5"/>
                    <a:pt x="958" y="5"/>
                  </a:cubicBezTo>
                  <a:cubicBezTo>
                    <a:pt x="958" y="4"/>
                    <a:pt x="957" y="4"/>
                    <a:pt x="957" y="3"/>
                  </a:cubicBezTo>
                  <a:cubicBezTo>
                    <a:pt x="957" y="3"/>
                    <a:pt x="956" y="3"/>
                    <a:pt x="956" y="3"/>
                  </a:cubicBezTo>
                  <a:cubicBezTo>
                    <a:pt x="956" y="3"/>
                    <a:pt x="955" y="2"/>
                    <a:pt x="955" y="2"/>
                  </a:cubicBezTo>
                  <a:cubicBezTo>
                    <a:pt x="954" y="2"/>
                    <a:pt x="954" y="2"/>
                    <a:pt x="954" y="2"/>
                  </a:cubicBezTo>
                  <a:cubicBezTo>
                    <a:pt x="953" y="2"/>
                    <a:pt x="953" y="1"/>
                    <a:pt x="952" y="1"/>
                  </a:cubicBezTo>
                  <a:cubicBezTo>
                    <a:pt x="952" y="1"/>
                    <a:pt x="952" y="1"/>
                    <a:pt x="952" y="1"/>
                  </a:cubicBezTo>
                  <a:cubicBezTo>
                    <a:pt x="951" y="1"/>
                    <a:pt x="951" y="1"/>
                    <a:pt x="951" y="1"/>
                  </a:cubicBezTo>
                  <a:cubicBezTo>
                    <a:pt x="951" y="1"/>
                    <a:pt x="950" y="0"/>
                    <a:pt x="950" y="0"/>
                  </a:cubicBezTo>
                  <a:cubicBezTo>
                    <a:pt x="950" y="0"/>
                    <a:pt x="950" y="0"/>
                    <a:pt x="949" y="0"/>
                  </a:cubicBezTo>
                  <a:cubicBezTo>
                    <a:pt x="948" y="0"/>
                    <a:pt x="946" y="0"/>
                    <a:pt x="944" y="0"/>
                  </a:cubicBezTo>
                  <a:cubicBezTo>
                    <a:pt x="944" y="0"/>
                    <a:pt x="944" y="0"/>
                    <a:pt x="944" y="0"/>
                  </a:cubicBezTo>
                  <a:cubicBezTo>
                    <a:pt x="603" y="0"/>
                    <a:pt x="603" y="0"/>
                    <a:pt x="603" y="0"/>
                  </a:cubicBezTo>
                  <a:cubicBezTo>
                    <a:pt x="603" y="0"/>
                    <a:pt x="603" y="0"/>
                    <a:pt x="603" y="0"/>
                  </a:cubicBezTo>
                  <a:cubicBezTo>
                    <a:pt x="262" y="0"/>
                    <a:pt x="262" y="0"/>
                    <a:pt x="262" y="0"/>
                  </a:cubicBezTo>
                  <a:cubicBezTo>
                    <a:pt x="262" y="0"/>
                    <a:pt x="262" y="0"/>
                    <a:pt x="262" y="0"/>
                  </a:cubicBezTo>
                  <a:cubicBezTo>
                    <a:pt x="261" y="0"/>
                    <a:pt x="260" y="0"/>
                    <a:pt x="259" y="0"/>
                  </a:cubicBezTo>
                  <a:cubicBezTo>
                    <a:pt x="259" y="0"/>
                    <a:pt x="259" y="0"/>
                    <a:pt x="259" y="0"/>
                  </a:cubicBezTo>
                  <a:cubicBezTo>
                    <a:pt x="258" y="0"/>
                    <a:pt x="258" y="0"/>
                    <a:pt x="257" y="0"/>
                  </a:cubicBezTo>
                  <a:cubicBezTo>
                    <a:pt x="256" y="0"/>
                    <a:pt x="256" y="0"/>
                    <a:pt x="256" y="0"/>
                  </a:cubicBezTo>
                  <a:cubicBezTo>
                    <a:pt x="256" y="0"/>
                    <a:pt x="255" y="1"/>
                    <a:pt x="255" y="1"/>
                  </a:cubicBezTo>
                  <a:cubicBezTo>
                    <a:pt x="255" y="1"/>
                    <a:pt x="254" y="1"/>
                    <a:pt x="254" y="1"/>
                  </a:cubicBezTo>
                  <a:cubicBezTo>
                    <a:pt x="254" y="1"/>
                    <a:pt x="254" y="1"/>
                    <a:pt x="254" y="1"/>
                  </a:cubicBezTo>
                  <a:cubicBezTo>
                    <a:pt x="253" y="1"/>
                    <a:pt x="253" y="2"/>
                    <a:pt x="252" y="2"/>
                  </a:cubicBezTo>
                  <a:cubicBezTo>
                    <a:pt x="252" y="2"/>
                    <a:pt x="252" y="2"/>
                    <a:pt x="251" y="2"/>
                  </a:cubicBezTo>
                  <a:cubicBezTo>
                    <a:pt x="251" y="3"/>
                    <a:pt x="250" y="3"/>
                    <a:pt x="250" y="3"/>
                  </a:cubicBezTo>
                  <a:cubicBezTo>
                    <a:pt x="250" y="3"/>
                    <a:pt x="249" y="3"/>
                    <a:pt x="249" y="4"/>
                  </a:cubicBezTo>
                  <a:cubicBezTo>
                    <a:pt x="249" y="4"/>
                    <a:pt x="248" y="4"/>
                    <a:pt x="248" y="5"/>
                  </a:cubicBezTo>
                  <a:cubicBezTo>
                    <a:pt x="248" y="5"/>
                    <a:pt x="247" y="5"/>
                    <a:pt x="247" y="5"/>
                  </a:cubicBezTo>
                  <a:cubicBezTo>
                    <a:pt x="247" y="6"/>
                    <a:pt x="246" y="6"/>
                    <a:pt x="246" y="7"/>
                  </a:cubicBezTo>
                  <a:cubicBezTo>
                    <a:pt x="245" y="7"/>
                    <a:pt x="245" y="7"/>
                    <a:pt x="245" y="7"/>
                  </a:cubicBezTo>
                  <a:cubicBezTo>
                    <a:pt x="245" y="8"/>
                    <a:pt x="244" y="8"/>
                    <a:pt x="244" y="9"/>
                  </a:cubicBezTo>
                  <a:cubicBezTo>
                    <a:pt x="244" y="9"/>
                    <a:pt x="244" y="9"/>
                    <a:pt x="244" y="9"/>
                  </a:cubicBezTo>
                  <a:cubicBezTo>
                    <a:pt x="4" y="352"/>
                    <a:pt x="4" y="352"/>
                    <a:pt x="4" y="352"/>
                  </a:cubicBezTo>
                  <a:cubicBezTo>
                    <a:pt x="3" y="353"/>
                    <a:pt x="2" y="354"/>
                    <a:pt x="2" y="355"/>
                  </a:cubicBezTo>
                  <a:cubicBezTo>
                    <a:pt x="2" y="356"/>
                    <a:pt x="2" y="356"/>
                    <a:pt x="2" y="356"/>
                  </a:cubicBezTo>
                  <a:cubicBezTo>
                    <a:pt x="1" y="357"/>
                    <a:pt x="1" y="358"/>
                    <a:pt x="1" y="359"/>
                  </a:cubicBezTo>
                  <a:cubicBezTo>
                    <a:pt x="0" y="359"/>
                    <a:pt x="0" y="360"/>
                    <a:pt x="0" y="360"/>
                  </a:cubicBezTo>
                  <a:cubicBezTo>
                    <a:pt x="0" y="361"/>
                    <a:pt x="0" y="363"/>
                    <a:pt x="0" y="364"/>
                  </a:cubicBezTo>
                  <a:cubicBezTo>
                    <a:pt x="0" y="364"/>
                    <a:pt x="0" y="364"/>
                    <a:pt x="0" y="364"/>
                  </a:cubicBezTo>
                  <a:cubicBezTo>
                    <a:pt x="0" y="365"/>
                    <a:pt x="0" y="366"/>
                    <a:pt x="0" y="368"/>
                  </a:cubicBezTo>
                  <a:cubicBezTo>
                    <a:pt x="0" y="368"/>
                    <a:pt x="0" y="368"/>
                    <a:pt x="0" y="369"/>
                  </a:cubicBezTo>
                  <a:cubicBezTo>
                    <a:pt x="0" y="370"/>
                    <a:pt x="0" y="371"/>
                    <a:pt x="1" y="372"/>
                  </a:cubicBezTo>
                  <a:cubicBezTo>
                    <a:pt x="1" y="372"/>
                    <a:pt x="1" y="372"/>
                    <a:pt x="1" y="372"/>
                  </a:cubicBezTo>
                  <a:cubicBezTo>
                    <a:pt x="1" y="373"/>
                    <a:pt x="2" y="374"/>
                    <a:pt x="2" y="375"/>
                  </a:cubicBezTo>
                  <a:cubicBezTo>
                    <a:pt x="2" y="375"/>
                    <a:pt x="2" y="376"/>
                    <a:pt x="2" y="376"/>
                  </a:cubicBezTo>
                  <a:cubicBezTo>
                    <a:pt x="3" y="376"/>
                    <a:pt x="3" y="376"/>
                    <a:pt x="3" y="377"/>
                  </a:cubicBezTo>
                  <a:cubicBezTo>
                    <a:pt x="4" y="378"/>
                    <a:pt x="4" y="378"/>
                    <a:pt x="5" y="379"/>
                  </a:cubicBezTo>
                  <a:cubicBezTo>
                    <a:pt x="5" y="379"/>
                    <a:pt x="5" y="380"/>
                    <a:pt x="5" y="380"/>
                  </a:cubicBezTo>
                  <a:cubicBezTo>
                    <a:pt x="589" y="1030"/>
                    <a:pt x="589" y="1030"/>
                    <a:pt x="589" y="1030"/>
                  </a:cubicBezTo>
                  <a:cubicBezTo>
                    <a:pt x="589" y="1030"/>
                    <a:pt x="589" y="1030"/>
                    <a:pt x="589" y="1030"/>
                  </a:cubicBezTo>
                  <a:cubicBezTo>
                    <a:pt x="590" y="1031"/>
                    <a:pt x="590" y="1031"/>
                    <a:pt x="590" y="1031"/>
                  </a:cubicBezTo>
                  <a:cubicBezTo>
                    <a:pt x="591" y="1032"/>
                    <a:pt x="591" y="1032"/>
                    <a:pt x="592" y="1033"/>
                  </a:cubicBezTo>
                  <a:cubicBezTo>
                    <a:pt x="592" y="1033"/>
                    <a:pt x="592" y="1033"/>
                    <a:pt x="592" y="1033"/>
                  </a:cubicBezTo>
                  <a:cubicBezTo>
                    <a:pt x="593" y="1034"/>
                    <a:pt x="594" y="1034"/>
                    <a:pt x="595" y="1034"/>
                  </a:cubicBezTo>
                  <a:cubicBezTo>
                    <a:pt x="595" y="1035"/>
                    <a:pt x="595" y="1035"/>
                    <a:pt x="595" y="1035"/>
                  </a:cubicBezTo>
                  <a:cubicBezTo>
                    <a:pt x="596" y="1035"/>
                    <a:pt x="597" y="1036"/>
                    <a:pt x="598" y="1036"/>
                  </a:cubicBezTo>
                  <a:cubicBezTo>
                    <a:pt x="598" y="1036"/>
                    <a:pt x="598" y="1036"/>
                    <a:pt x="598" y="1036"/>
                  </a:cubicBezTo>
                  <a:cubicBezTo>
                    <a:pt x="599" y="1036"/>
                    <a:pt x="600" y="1036"/>
                    <a:pt x="601" y="1037"/>
                  </a:cubicBezTo>
                  <a:cubicBezTo>
                    <a:pt x="601" y="1037"/>
                    <a:pt x="602" y="1037"/>
                    <a:pt x="602" y="1037"/>
                  </a:cubicBezTo>
                  <a:cubicBezTo>
                    <a:pt x="603" y="1037"/>
                    <a:pt x="604" y="1037"/>
                    <a:pt x="605" y="1037"/>
                  </a:cubicBezTo>
                  <a:cubicBezTo>
                    <a:pt x="605" y="1037"/>
                    <a:pt x="605" y="1037"/>
                    <a:pt x="605" y="1037"/>
                  </a:cubicBezTo>
                  <a:cubicBezTo>
                    <a:pt x="606" y="1037"/>
                    <a:pt x="607" y="1037"/>
                    <a:pt x="608" y="1037"/>
                  </a:cubicBezTo>
                  <a:cubicBezTo>
                    <a:pt x="608" y="1037"/>
                    <a:pt x="609" y="1037"/>
                    <a:pt x="609" y="1037"/>
                  </a:cubicBezTo>
                  <a:cubicBezTo>
                    <a:pt x="610" y="1036"/>
                    <a:pt x="611" y="1036"/>
                    <a:pt x="612" y="1036"/>
                  </a:cubicBezTo>
                  <a:cubicBezTo>
                    <a:pt x="612" y="1036"/>
                    <a:pt x="612" y="1036"/>
                    <a:pt x="612" y="1036"/>
                  </a:cubicBezTo>
                  <a:cubicBezTo>
                    <a:pt x="613" y="1036"/>
                    <a:pt x="614" y="1035"/>
                    <a:pt x="615" y="1035"/>
                  </a:cubicBezTo>
                  <a:cubicBezTo>
                    <a:pt x="615" y="1035"/>
                    <a:pt x="615" y="1035"/>
                    <a:pt x="615" y="1034"/>
                  </a:cubicBezTo>
                  <a:cubicBezTo>
                    <a:pt x="616" y="1034"/>
                    <a:pt x="617" y="1034"/>
                    <a:pt x="618" y="1033"/>
                  </a:cubicBezTo>
                  <a:cubicBezTo>
                    <a:pt x="618" y="1033"/>
                    <a:pt x="618" y="1033"/>
                    <a:pt x="618" y="1033"/>
                  </a:cubicBezTo>
                  <a:cubicBezTo>
                    <a:pt x="619" y="1032"/>
                    <a:pt x="619" y="1032"/>
                    <a:pt x="620" y="1031"/>
                  </a:cubicBezTo>
                  <a:cubicBezTo>
                    <a:pt x="620" y="1031"/>
                    <a:pt x="621" y="1031"/>
                    <a:pt x="621" y="1030"/>
                  </a:cubicBezTo>
                  <a:cubicBezTo>
                    <a:pt x="621" y="1030"/>
                    <a:pt x="621" y="1030"/>
                    <a:pt x="621" y="1030"/>
                  </a:cubicBezTo>
                  <a:cubicBezTo>
                    <a:pt x="1201" y="380"/>
                    <a:pt x="1201" y="380"/>
                    <a:pt x="1201" y="380"/>
                  </a:cubicBezTo>
                  <a:cubicBezTo>
                    <a:pt x="1201" y="380"/>
                    <a:pt x="1201" y="379"/>
                    <a:pt x="1201" y="379"/>
                  </a:cubicBezTo>
                  <a:cubicBezTo>
                    <a:pt x="1202" y="378"/>
                    <a:pt x="1202" y="378"/>
                    <a:pt x="1203" y="377"/>
                  </a:cubicBezTo>
                  <a:cubicBezTo>
                    <a:pt x="1203" y="376"/>
                    <a:pt x="1203" y="376"/>
                    <a:pt x="1204" y="376"/>
                  </a:cubicBezTo>
                  <a:close/>
                  <a:moveTo>
                    <a:pt x="786" y="343"/>
                  </a:moveTo>
                  <a:cubicBezTo>
                    <a:pt x="421" y="343"/>
                    <a:pt x="421" y="343"/>
                    <a:pt x="421" y="343"/>
                  </a:cubicBezTo>
                  <a:cubicBezTo>
                    <a:pt x="603" y="62"/>
                    <a:pt x="603" y="62"/>
                    <a:pt x="603" y="62"/>
                  </a:cubicBezTo>
                  <a:cubicBezTo>
                    <a:pt x="645" y="127"/>
                    <a:pt x="645" y="127"/>
                    <a:pt x="645" y="127"/>
                  </a:cubicBezTo>
                  <a:cubicBezTo>
                    <a:pt x="657" y="116"/>
                    <a:pt x="666" y="103"/>
                    <a:pt x="673" y="89"/>
                  </a:cubicBezTo>
                  <a:cubicBezTo>
                    <a:pt x="644" y="44"/>
                    <a:pt x="644" y="44"/>
                    <a:pt x="644" y="44"/>
                  </a:cubicBezTo>
                  <a:cubicBezTo>
                    <a:pt x="913" y="44"/>
                    <a:pt x="913" y="44"/>
                    <a:pt x="913" y="44"/>
                  </a:cubicBezTo>
                  <a:cubicBezTo>
                    <a:pt x="821" y="315"/>
                    <a:pt x="821" y="315"/>
                    <a:pt x="821" y="315"/>
                  </a:cubicBezTo>
                  <a:cubicBezTo>
                    <a:pt x="783" y="257"/>
                    <a:pt x="783" y="257"/>
                    <a:pt x="783" y="257"/>
                  </a:cubicBezTo>
                  <a:cubicBezTo>
                    <a:pt x="771" y="267"/>
                    <a:pt x="762" y="280"/>
                    <a:pt x="755" y="295"/>
                  </a:cubicBezTo>
                  <a:lnTo>
                    <a:pt x="786" y="343"/>
                  </a:lnTo>
                  <a:close/>
                  <a:moveTo>
                    <a:pt x="387" y="315"/>
                  </a:moveTo>
                  <a:cubicBezTo>
                    <a:pt x="293" y="44"/>
                    <a:pt x="293" y="44"/>
                    <a:pt x="293" y="44"/>
                  </a:cubicBezTo>
                  <a:cubicBezTo>
                    <a:pt x="563" y="44"/>
                    <a:pt x="563" y="44"/>
                    <a:pt x="563" y="44"/>
                  </a:cubicBezTo>
                  <a:lnTo>
                    <a:pt x="387" y="315"/>
                  </a:lnTo>
                  <a:close/>
                  <a:moveTo>
                    <a:pt x="408" y="512"/>
                  </a:moveTo>
                  <a:cubicBezTo>
                    <a:pt x="419" y="493"/>
                    <a:pt x="427" y="471"/>
                    <a:pt x="433" y="450"/>
                  </a:cubicBezTo>
                  <a:cubicBezTo>
                    <a:pt x="411" y="387"/>
                    <a:pt x="411" y="387"/>
                    <a:pt x="411" y="387"/>
                  </a:cubicBezTo>
                  <a:cubicBezTo>
                    <a:pt x="796" y="387"/>
                    <a:pt x="796" y="387"/>
                    <a:pt x="796" y="387"/>
                  </a:cubicBezTo>
                  <a:cubicBezTo>
                    <a:pt x="605" y="947"/>
                    <a:pt x="605" y="947"/>
                    <a:pt x="605" y="947"/>
                  </a:cubicBezTo>
                  <a:cubicBezTo>
                    <a:pt x="513" y="683"/>
                    <a:pt x="513" y="683"/>
                    <a:pt x="513" y="683"/>
                  </a:cubicBezTo>
                  <a:cubicBezTo>
                    <a:pt x="502" y="702"/>
                    <a:pt x="495" y="727"/>
                    <a:pt x="490" y="750"/>
                  </a:cubicBezTo>
                  <a:cubicBezTo>
                    <a:pt x="549" y="919"/>
                    <a:pt x="549" y="919"/>
                    <a:pt x="549" y="919"/>
                  </a:cubicBezTo>
                  <a:cubicBezTo>
                    <a:pt x="71" y="387"/>
                    <a:pt x="71" y="387"/>
                    <a:pt x="71" y="387"/>
                  </a:cubicBezTo>
                  <a:cubicBezTo>
                    <a:pt x="365" y="387"/>
                    <a:pt x="365" y="387"/>
                    <a:pt x="365" y="387"/>
                  </a:cubicBezTo>
                  <a:lnTo>
                    <a:pt x="408" y="512"/>
                  </a:lnTo>
                  <a:close/>
                  <a:moveTo>
                    <a:pt x="843" y="387"/>
                  </a:moveTo>
                  <a:cubicBezTo>
                    <a:pt x="1135" y="387"/>
                    <a:pt x="1135" y="387"/>
                    <a:pt x="1135" y="387"/>
                  </a:cubicBezTo>
                  <a:cubicBezTo>
                    <a:pt x="661" y="919"/>
                    <a:pt x="661" y="919"/>
                    <a:pt x="661" y="919"/>
                  </a:cubicBezTo>
                  <a:lnTo>
                    <a:pt x="843" y="387"/>
                  </a:lnTo>
                  <a:close/>
                  <a:moveTo>
                    <a:pt x="858" y="343"/>
                  </a:moveTo>
                  <a:cubicBezTo>
                    <a:pt x="951" y="70"/>
                    <a:pt x="951" y="70"/>
                    <a:pt x="951" y="70"/>
                  </a:cubicBezTo>
                  <a:cubicBezTo>
                    <a:pt x="1142" y="343"/>
                    <a:pt x="1142" y="343"/>
                    <a:pt x="1142" y="343"/>
                  </a:cubicBezTo>
                  <a:lnTo>
                    <a:pt x="858" y="343"/>
                  </a:lnTo>
                  <a:close/>
                  <a:moveTo>
                    <a:pt x="255" y="69"/>
                  </a:moveTo>
                  <a:cubicBezTo>
                    <a:pt x="350" y="343"/>
                    <a:pt x="350" y="343"/>
                    <a:pt x="350" y="343"/>
                  </a:cubicBezTo>
                  <a:cubicBezTo>
                    <a:pt x="64" y="343"/>
                    <a:pt x="64" y="343"/>
                    <a:pt x="64" y="343"/>
                  </a:cubicBezTo>
                  <a:lnTo>
                    <a:pt x="255" y="69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sp>
        <p:nvSpPr>
          <p:cNvPr id="84" name="Rectangle 83"/>
          <p:cNvSpPr/>
          <p:nvPr/>
        </p:nvSpPr>
        <p:spPr>
          <a:xfrm>
            <a:off x="472500" y="45115"/>
            <a:ext cx="1490307" cy="141933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r>
              <a:rPr lang="ru-RU" sz="900" dirty="0">
                <a:solidFill>
                  <a:srgbClr val="575757"/>
                </a:solidFill>
              </a:rPr>
              <a:t>Ключевые принципы</a:t>
            </a:r>
          </a:p>
        </p:txBody>
      </p:sp>
    </p:spTree>
    <p:extLst>
      <p:ext uri="{BB962C8B-B14F-4D97-AF65-F5344CB8AC3E}">
        <p14:creationId xmlns:p14="http://schemas.microsoft.com/office/powerpoint/2010/main" val="4079074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ct 3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2" y="1192"/>
          <a:ext cx="119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4752" y="164043"/>
            <a:ext cx="8199900" cy="1080296"/>
          </a:xfrm>
        </p:spPr>
        <p:txBody>
          <a:bodyPr/>
          <a:lstStyle/>
          <a:p>
            <a:r>
              <a:rPr lang="ru-RU" dirty="0"/>
              <a:t>В периметр </a:t>
            </a:r>
            <a:r>
              <a:rPr lang="ru-RU" dirty="0" smtClean="0"/>
              <a:t>возможного нового регулирования </a:t>
            </a:r>
            <a:r>
              <a:rPr lang="ru-RU" dirty="0"/>
              <a:t>попадают только блоки тем, связанные с </a:t>
            </a:r>
            <a:r>
              <a:rPr lang="ru-RU" dirty="0" smtClean="0"/>
              <a:t>инфокоммуникационной </a:t>
            </a:r>
            <a:r>
              <a:rPr lang="ru-RU" dirty="0"/>
              <a:t>отраслью</a:t>
            </a:r>
          </a:p>
        </p:txBody>
      </p:sp>
      <p:sp>
        <p:nvSpPr>
          <p:cNvPr id="4" name="Rectangle 3"/>
          <p:cNvSpPr/>
          <p:nvPr/>
        </p:nvSpPr>
        <p:spPr>
          <a:xfrm>
            <a:off x="4504702" y="3014163"/>
            <a:ext cx="1133492" cy="690626"/>
          </a:xfrm>
          <a:prstGeom prst="rect">
            <a:avLst/>
          </a:prstGeom>
          <a:noFill/>
          <a:ln w="9525" cap="rnd" cmpd="sng" algn="ctr">
            <a:solidFill>
              <a:srgbClr val="29BA74"/>
            </a:solidFill>
            <a:prstDash val="sysDash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900" dirty="0">
                <a:solidFill>
                  <a:srgbClr val="575757"/>
                </a:solidFill>
              </a:rPr>
              <a:t>Физическая инфраструктура</a:t>
            </a:r>
          </a:p>
        </p:txBody>
      </p:sp>
      <p:sp>
        <p:nvSpPr>
          <p:cNvPr id="5" name="Rectangle 4"/>
          <p:cNvSpPr/>
          <p:nvPr/>
        </p:nvSpPr>
        <p:spPr>
          <a:xfrm>
            <a:off x="3228886" y="3014163"/>
            <a:ext cx="1133492" cy="690626"/>
          </a:xfrm>
          <a:prstGeom prst="rect">
            <a:avLst/>
          </a:prstGeom>
          <a:noFill/>
          <a:ln w="9525" cap="rnd" cmpd="sng" algn="ctr">
            <a:solidFill>
              <a:srgbClr val="29BA74"/>
            </a:solidFill>
            <a:prstDash val="sysDash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900" dirty="0">
                <a:solidFill>
                  <a:srgbClr val="575757"/>
                </a:solidFill>
              </a:rPr>
              <a:t>Сетевое взаимодействие</a:t>
            </a:r>
          </a:p>
        </p:txBody>
      </p:sp>
      <p:sp>
        <p:nvSpPr>
          <p:cNvPr id="6" name="Rectangle 5"/>
          <p:cNvSpPr/>
          <p:nvPr/>
        </p:nvSpPr>
        <p:spPr>
          <a:xfrm>
            <a:off x="4504702" y="2123765"/>
            <a:ext cx="1133492" cy="690626"/>
          </a:xfrm>
          <a:prstGeom prst="rect">
            <a:avLst/>
          </a:prstGeom>
          <a:noFill/>
          <a:ln w="9525" cap="rnd" cmpd="sng" algn="ctr">
            <a:solidFill>
              <a:srgbClr val="29BA74"/>
            </a:solidFill>
            <a:prstDash val="sysDash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900" dirty="0">
                <a:solidFill>
                  <a:srgbClr val="575757"/>
                </a:solidFill>
              </a:rPr>
              <a:t>Сервисы и услуги</a:t>
            </a:r>
          </a:p>
        </p:txBody>
      </p:sp>
      <p:sp>
        <p:nvSpPr>
          <p:cNvPr id="7" name="Rectangle 6"/>
          <p:cNvSpPr/>
          <p:nvPr/>
        </p:nvSpPr>
        <p:spPr>
          <a:xfrm>
            <a:off x="3228886" y="2123765"/>
            <a:ext cx="1133492" cy="690626"/>
          </a:xfrm>
          <a:prstGeom prst="rect">
            <a:avLst/>
          </a:prstGeom>
          <a:noFill/>
          <a:ln w="9525" cap="rnd" cmpd="sng" algn="ctr">
            <a:solidFill>
              <a:srgbClr val="29BA74"/>
            </a:solidFill>
            <a:prstDash val="sysDash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900" dirty="0">
                <a:solidFill>
                  <a:srgbClr val="575757"/>
                </a:solidFill>
              </a:rPr>
              <a:t>Данные и контент</a:t>
            </a:r>
          </a:p>
        </p:txBody>
      </p:sp>
      <p:grpSp>
        <p:nvGrpSpPr>
          <p:cNvPr id="8" name="bcgIcons_Network">
            <a:extLst>
              <a:ext uri="{FF2B5EF4-FFF2-40B4-BE49-F238E27FC236}">
                <a16:creationId xmlns:a16="http://schemas.microsoft.com/office/drawing/2014/main" xmlns="" id="{1552B4E7-8819-4A5B-BAA2-B1CF810393A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79743" y="3029810"/>
            <a:ext cx="431777" cy="432310"/>
            <a:chOff x="1682" y="0"/>
            <a:chExt cx="4316" cy="4320"/>
          </a:xfrm>
        </p:grpSpPr>
        <p:sp>
          <p:nvSpPr>
            <p:cNvPr id="9" name="AutoShape 24">
              <a:extLst>
                <a:ext uri="{FF2B5EF4-FFF2-40B4-BE49-F238E27FC236}">
                  <a16:creationId xmlns:a16="http://schemas.microsoft.com/office/drawing/2014/main" xmlns="" id="{F3249088-1FEF-4F4D-B4DD-F2FB6793247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0" name="Freeform 26">
              <a:extLst>
                <a:ext uri="{FF2B5EF4-FFF2-40B4-BE49-F238E27FC236}">
                  <a16:creationId xmlns:a16="http://schemas.microsoft.com/office/drawing/2014/main" xmlns="" id="{91F0DE8E-7721-4BF8-9C4E-7069412A86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27" y="626"/>
              <a:ext cx="2630" cy="3068"/>
            </a:xfrm>
            <a:custGeom>
              <a:avLst/>
              <a:gdLst>
                <a:gd name="T0" fmla="*/ 1189 w 2630"/>
                <a:gd name="T1" fmla="*/ 1962 h 3068"/>
                <a:gd name="T2" fmla="*/ 880 w 2630"/>
                <a:gd name="T3" fmla="*/ 1783 h 3068"/>
                <a:gd name="T4" fmla="*/ 880 w 2630"/>
                <a:gd name="T5" fmla="*/ 1427 h 3068"/>
                <a:gd name="T6" fmla="*/ 1189 w 2630"/>
                <a:gd name="T7" fmla="*/ 1605 h 3068"/>
                <a:gd name="T8" fmla="*/ 1189 w 2630"/>
                <a:gd name="T9" fmla="*/ 1962 h 3068"/>
                <a:gd name="T10" fmla="*/ 1313 w 2630"/>
                <a:gd name="T11" fmla="*/ 1392 h 3068"/>
                <a:gd name="T12" fmla="*/ 1622 w 2630"/>
                <a:gd name="T13" fmla="*/ 1213 h 3068"/>
                <a:gd name="T14" fmla="*/ 1313 w 2630"/>
                <a:gd name="T15" fmla="*/ 1035 h 3068"/>
                <a:gd name="T16" fmla="*/ 1004 w 2630"/>
                <a:gd name="T17" fmla="*/ 1213 h 3068"/>
                <a:gd name="T18" fmla="*/ 1313 w 2630"/>
                <a:gd name="T19" fmla="*/ 1392 h 3068"/>
                <a:gd name="T20" fmla="*/ 1437 w 2630"/>
                <a:gd name="T21" fmla="*/ 1605 h 3068"/>
                <a:gd name="T22" fmla="*/ 1437 w 2630"/>
                <a:gd name="T23" fmla="*/ 1962 h 3068"/>
                <a:gd name="T24" fmla="*/ 1746 w 2630"/>
                <a:gd name="T25" fmla="*/ 1783 h 3068"/>
                <a:gd name="T26" fmla="*/ 1746 w 2630"/>
                <a:gd name="T27" fmla="*/ 1427 h 3068"/>
                <a:gd name="T28" fmla="*/ 1437 w 2630"/>
                <a:gd name="T29" fmla="*/ 1605 h 3068"/>
                <a:gd name="T30" fmla="*/ 1313 w 2630"/>
                <a:gd name="T31" fmla="*/ 373 h 3068"/>
                <a:gd name="T32" fmla="*/ 1474 w 2630"/>
                <a:gd name="T33" fmla="*/ 280 h 3068"/>
                <a:gd name="T34" fmla="*/ 1474 w 2630"/>
                <a:gd name="T35" fmla="*/ 94 h 3068"/>
                <a:gd name="T36" fmla="*/ 1313 w 2630"/>
                <a:gd name="T37" fmla="*/ 0 h 3068"/>
                <a:gd name="T38" fmla="*/ 1152 w 2630"/>
                <a:gd name="T39" fmla="*/ 94 h 3068"/>
                <a:gd name="T40" fmla="*/ 1152 w 2630"/>
                <a:gd name="T41" fmla="*/ 280 h 3068"/>
                <a:gd name="T42" fmla="*/ 1313 w 2630"/>
                <a:gd name="T43" fmla="*/ 373 h 3068"/>
                <a:gd name="T44" fmla="*/ 1313 w 2630"/>
                <a:gd name="T45" fmla="*/ 3068 h 3068"/>
                <a:gd name="T46" fmla="*/ 1474 w 2630"/>
                <a:gd name="T47" fmla="*/ 2974 h 3068"/>
                <a:gd name="T48" fmla="*/ 1474 w 2630"/>
                <a:gd name="T49" fmla="*/ 2788 h 3068"/>
                <a:gd name="T50" fmla="*/ 1313 w 2630"/>
                <a:gd name="T51" fmla="*/ 2695 h 3068"/>
                <a:gd name="T52" fmla="*/ 1152 w 2630"/>
                <a:gd name="T53" fmla="*/ 2788 h 3068"/>
                <a:gd name="T54" fmla="*/ 1152 w 2630"/>
                <a:gd name="T55" fmla="*/ 2974 h 3068"/>
                <a:gd name="T56" fmla="*/ 1313 w 2630"/>
                <a:gd name="T57" fmla="*/ 3068 h 3068"/>
                <a:gd name="T58" fmla="*/ 2469 w 2630"/>
                <a:gd name="T59" fmla="*/ 2393 h 3068"/>
                <a:gd name="T60" fmla="*/ 2630 w 2630"/>
                <a:gd name="T61" fmla="*/ 2299 h 3068"/>
                <a:gd name="T62" fmla="*/ 2630 w 2630"/>
                <a:gd name="T63" fmla="*/ 2113 h 3068"/>
                <a:gd name="T64" fmla="*/ 2469 w 2630"/>
                <a:gd name="T65" fmla="*/ 2020 h 3068"/>
                <a:gd name="T66" fmla="*/ 2308 w 2630"/>
                <a:gd name="T67" fmla="*/ 2113 h 3068"/>
                <a:gd name="T68" fmla="*/ 2308 w 2630"/>
                <a:gd name="T69" fmla="*/ 2299 h 3068"/>
                <a:gd name="T70" fmla="*/ 2469 w 2630"/>
                <a:gd name="T71" fmla="*/ 2393 h 3068"/>
                <a:gd name="T72" fmla="*/ 2469 w 2630"/>
                <a:gd name="T73" fmla="*/ 1048 h 3068"/>
                <a:gd name="T74" fmla="*/ 2630 w 2630"/>
                <a:gd name="T75" fmla="*/ 955 h 3068"/>
                <a:gd name="T76" fmla="*/ 2630 w 2630"/>
                <a:gd name="T77" fmla="*/ 769 h 3068"/>
                <a:gd name="T78" fmla="*/ 2469 w 2630"/>
                <a:gd name="T79" fmla="*/ 675 h 3068"/>
                <a:gd name="T80" fmla="*/ 2308 w 2630"/>
                <a:gd name="T81" fmla="*/ 769 h 3068"/>
                <a:gd name="T82" fmla="*/ 2308 w 2630"/>
                <a:gd name="T83" fmla="*/ 955 h 3068"/>
                <a:gd name="T84" fmla="*/ 2469 w 2630"/>
                <a:gd name="T85" fmla="*/ 1048 h 3068"/>
                <a:gd name="T86" fmla="*/ 161 w 2630"/>
                <a:gd name="T87" fmla="*/ 2393 h 3068"/>
                <a:gd name="T88" fmla="*/ 322 w 2630"/>
                <a:gd name="T89" fmla="*/ 2299 h 3068"/>
                <a:gd name="T90" fmla="*/ 322 w 2630"/>
                <a:gd name="T91" fmla="*/ 2113 h 3068"/>
                <a:gd name="T92" fmla="*/ 161 w 2630"/>
                <a:gd name="T93" fmla="*/ 2020 h 3068"/>
                <a:gd name="T94" fmla="*/ 0 w 2630"/>
                <a:gd name="T95" fmla="*/ 2113 h 3068"/>
                <a:gd name="T96" fmla="*/ 0 w 2630"/>
                <a:gd name="T97" fmla="*/ 2299 h 3068"/>
                <a:gd name="T98" fmla="*/ 161 w 2630"/>
                <a:gd name="T99" fmla="*/ 2393 h 3068"/>
                <a:gd name="T100" fmla="*/ 161 w 2630"/>
                <a:gd name="T101" fmla="*/ 1048 h 3068"/>
                <a:gd name="T102" fmla="*/ 322 w 2630"/>
                <a:gd name="T103" fmla="*/ 955 h 3068"/>
                <a:gd name="T104" fmla="*/ 322 w 2630"/>
                <a:gd name="T105" fmla="*/ 769 h 3068"/>
                <a:gd name="T106" fmla="*/ 161 w 2630"/>
                <a:gd name="T107" fmla="*/ 675 h 3068"/>
                <a:gd name="T108" fmla="*/ 0 w 2630"/>
                <a:gd name="T109" fmla="*/ 769 h 3068"/>
                <a:gd name="T110" fmla="*/ 0 w 2630"/>
                <a:gd name="T111" fmla="*/ 955 h 3068"/>
                <a:gd name="T112" fmla="*/ 161 w 2630"/>
                <a:gd name="T113" fmla="*/ 1048 h 30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30" h="3068">
                  <a:moveTo>
                    <a:pt x="1189" y="1962"/>
                  </a:moveTo>
                  <a:lnTo>
                    <a:pt x="880" y="1783"/>
                  </a:lnTo>
                  <a:lnTo>
                    <a:pt x="880" y="1427"/>
                  </a:lnTo>
                  <a:lnTo>
                    <a:pt x="1189" y="1605"/>
                  </a:lnTo>
                  <a:lnTo>
                    <a:pt x="1189" y="1962"/>
                  </a:lnTo>
                  <a:close/>
                  <a:moveTo>
                    <a:pt x="1313" y="1392"/>
                  </a:moveTo>
                  <a:lnTo>
                    <a:pt x="1622" y="1213"/>
                  </a:lnTo>
                  <a:lnTo>
                    <a:pt x="1313" y="1035"/>
                  </a:lnTo>
                  <a:lnTo>
                    <a:pt x="1004" y="1213"/>
                  </a:lnTo>
                  <a:lnTo>
                    <a:pt x="1313" y="1392"/>
                  </a:lnTo>
                  <a:close/>
                  <a:moveTo>
                    <a:pt x="1437" y="1605"/>
                  </a:moveTo>
                  <a:lnTo>
                    <a:pt x="1437" y="1962"/>
                  </a:lnTo>
                  <a:lnTo>
                    <a:pt x="1746" y="1783"/>
                  </a:lnTo>
                  <a:lnTo>
                    <a:pt x="1746" y="1427"/>
                  </a:lnTo>
                  <a:lnTo>
                    <a:pt x="1437" y="1605"/>
                  </a:lnTo>
                  <a:close/>
                  <a:moveTo>
                    <a:pt x="1313" y="373"/>
                  </a:moveTo>
                  <a:lnTo>
                    <a:pt x="1474" y="280"/>
                  </a:lnTo>
                  <a:lnTo>
                    <a:pt x="1474" y="94"/>
                  </a:lnTo>
                  <a:lnTo>
                    <a:pt x="1313" y="0"/>
                  </a:lnTo>
                  <a:lnTo>
                    <a:pt x="1152" y="94"/>
                  </a:lnTo>
                  <a:lnTo>
                    <a:pt x="1152" y="280"/>
                  </a:lnTo>
                  <a:lnTo>
                    <a:pt x="1313" y="373"/>
                  </a:lnTo>
                  <a:close/>
                  <a:moveTo>
                    <a:pt x="1313" y="3068"/>
                  </a:moveTo>
                  <a:lnTo>
                    <a:pt x="1474" y="2974"/>
                  </a:lnTo>
                  <a:lnTo>
                    <a:pt x="1474" y="2788"/>
                  </a:lnTo>
                  <a:lnTo>
                    <a:pt x="1313" y="2695"/>
                  </a:lnTo>
                  <a:lnTo>
                    <a:pt x="1152" y="2788"/>
                  </a:lnTo>
                  <a:lnTo>
                    <a:pt x="1152" y="2974"/>
                  </a:lnTo>
                  <a:lnTo>
                    <a:pt x="1313" y="3068"/>
                  </a:lnTo>
                  <a:close/>
                  <a:moveTo>
                    <a:pt x="2469" y="2393"/>
                  </a:moveTo>
                  <a:lnTo>
                    <a:pt x="2630" y="2299"/>
                  </a:lnTo>
                  <a:lnTo>
                    <a:pt x="2630" y="2113"/>
                  </a:lnTo>
                  <a:lnTo>
                    <a:pt x="2469" y="2020"/>
                  </a:lnTo>
                  <a:lnTo>
                    <a:pt x="2308" y="2113"/>
                  </a:lnTo>
                  <a:lnTo>
                    <a:pt x="2308" y="2299"/>
                  </a:lnTo>
                  <a:lnTo>
                    <a:pt x="2469" y="2393"/>
                  </a:lnTo>
                  <a:close/>
                  <a:moveTo>
                    <a:pt x="2469" y="1048"/>
                  </a:moveTo>
                  <a:lnTo>
                    <a:pt x="2630" y="955"/>
                  </a:lnTo>
                  <a:lnTo>
                    <a:pt x="2630" y="769"/>
                  </a:lnTo>
                  <a:lnTo>
                    <a:pt x="2469" y="675"/>
                  </a:lnTo>
                  <a:lnTo>
                    <a:pt x="2308" y="769"/>
                  </a:lnTo>
                  <a:lnTo>
                    <a:pt x="2308" y="955"/>
                  </a:lnTo>
                  <a:lnTo>
                    <a:pt x="2469" y="1048"/>
                  </a:lnTo>
                  <a:close/>
                  <a:moveTo>
                    <a:pt x="161" y="2393"/>
                  </a:moveTo>
                  <a:lnTo>
                    <a:pt x="322" y="2299"/>
                  </a:lnTo>
                  <a:lnTo>
                    <a:pt x="322" y="2113"/>
                  </a:lnTo>
                  <a:lnTo>
                    <a:pt x="161" y="2020"/>
                  </a:lnTo>
                  <a:lnTo>
                    <a:pt x="0" y="2113"/>
                  </a:lnTo>
                  <a:lnTo>
                    <a:pt x="0" y="2299"/>
                  </a:lnTo>
                  <a:lnTo>
                    <a:pt x="161" y="2393"/>
                  </a:lnTo>
                  <a:close/>
                  <a:moveTo>
                    <a:pt x="161" y="1048"/>
                  </a:moveTo>
                  <a:lnTo>
                    <a:pt x="322" y="955"/>
                  </a:lnTo>
                  <a:lnTo>
                    <a:pt x="322" y="769"/>
                  </a:lnTo>
                  <a:lnTo>
                    <a:pt x="161" y="675"/>
                  </a:lnTo>
                  <a:lnTo>
                    <a:pt x="0" y="769"/>
                  </a:lnTo>
                  <a:lnTo>
                    <a:pt x="0" y="955"/>
                  </a:lnTo>
                  <a:lnTo>
                    <a:pt x="161" y="1048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1" name="Freeform 27">
              <a:extLst>
                <a:ext uri="{FF2B5EF4-FFF2-40B4-BE49-F238E27FC236}">
                  <a16:creationId xmlns:a16="http://schemas.microsoft.com/office/drawing/2014/main" xmlns="" id="{74172CEF-9D9E-4786-9D45-00CE9C9B98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2" y="441"/>
              <a:ext cx="2960" cy="3437"/>
            </a:xfrm>
            <a:custGeom>
              <a:avLst/>
              <a:gdLst>
                <a:gd name="T0" fmla="*/ 1395 w 1580"/>
                <a:gd name="T1" fmla="*/ 753 h 1833"/>
                <a:gd name="T2" fmla="*/ 1569 w 1580"/>
                <a:gd name="T3" fmla="*/ 665 h 1833"/>
                <a:gd name="T4" fmla="*/ 1569 w 1580"/>
                <a:gd name="T5" fmla="*/ 452 h 1833"/>
                <a:gd name="T6" fmla="*/ 1243 w 1580"/>
                <a:gd name="T7" fmla="*/ 452 h 1833"/>
                <a:gd name="T8" fmla="*/ 1086 w 1580"/>
                <a:gd name="T9" fmla="*/ 720 h 1833"/>
                <a:gd name="T10" fmla="*/ 952 w 1580"/>
                <a:gd name="T11" fmla="*/ 305 h 1833"/>
                <a:gd name="T12" fmla="*/ 952 w 1580"/>
                <a:gd name="T13" fmla="*/ 92 h 1833"/>
                <a:gd name="T14" fmla="*/ 626 w 1580"/>
                <a:gd name="T15" fmla="*/ 92 h 1833"/>
                <a:gd name="T16" fmla="*/ 626 w 1580"/>
                <a:gd name="T17" fmla="*/ 305 h 1833"/>
                <a:gd name="T18" fmla="*/ 492 w 1580"/>
                <a:gd name="T19" fmla="*/ 720 h 1833"/>
                <a:gd name="T20" fmla="*/ 337 w 1580"/>
                <a:gd name="T21" fmla="*/ 452 h 1833"/>
                <a:gd name="T22" fmla="*/ 11 w 1580"/>
                <a:gd name="T23" fmla="*/ 452 h 1833"/>
                <a:gd name="T24" fmla="*/ 11 w 1580"/>
                <a:gd name="T25" fmla="*/ 665 h 1833"/>
                <a:gd name="T26" fmla="*/ 185 w 1580"/>
                <a:gd name="T27" fmla="*/ 753 h 1833"/>
                <a:gd name="T28" fmla="*/ 470 w 1580"/>
                <a:gd name="T29" fmla="*/ 1076 h 1833"/>
                <a:gd name="T30" fmla="*/ 163 w 1580"/>
                <a:gd name="T31" fmla="*/ 1081 h 1833"/>
                <a:gd name="T32" fmla="*/ 0 w 1580"/>
                <a:gd name="T33" fmla="*/ 1363 h 1833"/>
                <a:gd name="T34" fmla="*/ 174 w 1580"/>
                <a:gd name="T35" fmla="*/ 1473 h 1833"/>
                <a:gd name="T36" fmla="*/ 348 w 1580"/>
                <a:gd name="T37" fmla="*/ 1363 h 1833"/>
                <a:gd name="T38" fmla="*/ 767 w 1580"/>
                <a:gd name="T39" fmla="*/ 1272 h 1833"/>
                <a:gd name="T40" fmla="*/ 615 w 1580"/>
                <a:gd name="T41" fmla="*/ 1548 h 1833"/>
                <a:gd name="T42" fmla="*/ 778 w 1580"/>
                <a:gd name="T43" fmla="*/ 1830 h 1833"/>
                <a:gd name="T44" fmla="*/ 952 w 1580"/>
                <a:gd name="T45" fmla="*/ 1742 h 1833"/>
                <a:gd name="T46" fmla="*/ 952 w 1580"/>
                <a:gd name="T47" fmla="*/ 1529 h 1833"/>
                <a:gd name="T48" fmla="*/ 1086 w 1580"/>
                <a:gd name="T49" fmla="*/ 1114 h 1833"/>
                <a:gd name="T50" fmla="*/ 1243 w 1580"/>
                <a:gd name="T51" fmla="*/ 1382 h 1833"/>
                <a:gd name="T52" fmla="*/ 1417 w 1580"/>
                <a:gd name="T53" fmla="*/ 1470 h 1833"/>
                <a:gd name="T54" fmla="*/ 1580 w 1580"/>
                <a:gd name="T55" fmla="*/ 1188 h 1833"/>
                <a:gd name="T56" fmla="*/ 1395 w 1580"/>
                <a:gd name="T57" fmla="*/ 1081 h 1833"/>
                <a:gd name="T58" fmla="*/ 1108 w 1580"/>
                <a:gd name="T59" fmla="*/ 758 h 1833"/>
                <a:gd name="T60" fmla="*/ 789 w 1580"/>
                <a:gd name="T61" fmla="*/ 600 h 1833"/>
                <a:gd name="T62" fmla="*/ 1276 w 1580"/>
                <a:gd name="T63" fmla="*/ 483 h 1833"/>
                <a:gd name="T64" fmla="*/ 1536 w 1580"/>
                <a:gd name="T65" fmla="*/ 634 h 1833"/>
                <a:gd name="T66" fmla="*/ 1276 w 1580"/>
                <a:gd name="T67" fmla="*/ 483 h 1833"/>
                <a:gd name="T68" fmla="*/ 919 w 1580"/>
                <a:gd name="T69" fmla="*/ 123 h 1833"/>
                <a:gd name="T70" fmla="*/ 659 w 1580"/>
                <a:gd name="T71" fmla="*/ 274 h 1833"/>
                <a:gd name="T72" fmla="*/ 174 w 1580"/>
                <a:gd name="T73" fmla="*/ 709 h 1833"/>
                <a:gd name="T74" fmla="*/ 174 w 1580"/>
                <a:gd name="T75" fmla="*/ 408 h 1833"/>
                <a:gd name="T76" fmla="*/ 304 w 1580"/>
                <a:gd name="T77" fmla="*/ 1351 h 1833"/>
                <a:gd name="T78" fmla="*/ 44 w 1580"/>
                <a:gd name="T79" fmla="*/ 1200 h 1833"/>
                <a:gd name="T80" fmla="*/ 304 w 1580"/>
                <a:gd name="T81" fmla="*/ 1351 h 1833"/>
                <a:gd name="T82" fmla="*/ 767 w 1580"/>
                <a:gd name="T83" fmla="*/ 1222 h 1833"/>
                <a:gd name="T84" fmla="*/ 919 w 1580"/>
                <a:gd name="T85" fmla="*/ 1711 h 1833"/>
                <a:gd name="T86" fmla="*/ 659 w 1580"/>
                <a:gd name="T87" fmla="*/ 1560 h 1833"/>
                <a:gd name="T88" fmla="*/ 919 w 1580"/>
                <a:gd name="T89" fmla="*/ 1711 h 1833"/>
                <a:gd name="T90" fmla="*/ 1064 w 1580"/>
                <a:gd name="T91" fmla="*/ 784 h 1833"/>
                <a:gd name="T92" fmla="*/ 1276 w 1580"/>
                <a:gd name="T93" fmla="*/ 1200 h 1833"/>
                <a:gd name="T94" fmla="*/ 1536 w 1580"/>
                <a:gd name="T95" fmla="*/ 1351 h 1833"/>
                <a:gd name="T96" fmla="*/ 1276 w 1580"/>
                <a:gd name="T97" fmla="*/ 1200 h 18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80" h="1833">
                  <a:moveTo>
                    <a:pt x="1108" y="758"/>
                  </a:moveTo>
                  <a:cubicBezTo>
                    <a:pt x="1254" y="672"/>
                    <a:pt x="1254" y="672"/>
                    <a:pt x="1254" y="672"/>
                  </a:cubicBezTo>
                  <a:cubicBezTo>
                    <a:pt x="1395" y="753"/>
                    <a:pt x="1395" y="753"/>
                    <a:pt x="1395" y="753"/>
                  </a:cubicBezTo>
                  <a:cubicBezTo>
                    <a:pt x="1399" y="755"/>
                    <a:pt x="1403" y="756"/>
                    <a:pt x="1406" y="756"/>
                  </a:cubicBezTo>
                  <a:cubicBezTo>
                    <a:pt x="1410" y="756"/>
                    <a:pt x="1414" y="755"/>
                    <a:pt x="1417" y="753"/>
                  </a:cubicBezTo>
                  <a:cubicBezTo>
                    <a:pt x="1569" y="665"/>
                    <a:pt x="1569" y="665"/>
                    <a:pt x="1569" y="665"/>
                  </a:cubicBezTo>
                  <a:cubicBezTo>
                    <a:pt x="1576" y="661"/>
                    <a:pt x="1580" y="654"/>
                    <a:pt x="1580" y="646"/>
                  </a:cubicBezTo>
                  <a:cubicBezTo>
                    <a:pt x="1580" y="471"/>
                    <a:pt x="1580" y="471"/>
                    <a:pt x="1580" y="471"/>
                  </a:cubicBezTo>
                  <a:cubicBezTo>
                    <a:pt x="1580" y="463"/>
                    <a:pt x="1576" y="456"/>
                    <a:pt x="1569" y="452"/>
                  </a:cubicBezTo>
                  <a:cubicBezTo>
                    <a:pt x="1417" y="364"/>
                    <a:pt x="1417" y="364"/>
                    <a:pt x="1417" y="364"/>
                  </a:cubicBezTo>
                  <a:cubicBezTo>
                    <a:pt x="1411" y="360"/>
                    <a:pt x="1402" y="360"/>
                    <a:pt x="1395" y="364"/>
                  </a:cubicBezTo>
                  <a:cubicBezTo>
                    <a:pt x="1243" y="452"/>
                    <a:pt x="1243" y="452"/>
                    <a:pt x="1243" y="452"/>
                  </a:cubicBezTo>
                  <a:cubicBezTo>
                    <a:pt x="1237" y="456"/>
                    <a:pt x="1232" y="463"/>
                    <a:pt x="1232" y="471"/>
                  </a:cubicBezTo>
                  <a:cubicBezTo>
                    <a:pt x="1232" y="634"/>
                    <a:pt x="1232" y="634"/>
                    <a:pt x="1232" y="634"/>
                  </a:cubicBezTo>
                  <a:cubicBezTo>
                    <a:pt x="1086" y="720"/>
                    <a:pt x="1086" y="720"/>
                    <a:pt x="1086" y="720"/>
                  </a:cubicBezTo>
                  <a:cubicBezTo>
                    <a:pt x="811" y="562"/>
                    <a:pt x="811" y="562"/>
                    <a:pt x="811" y="562"/>
                  </a:cubicBezTo>
                  <a:cubicBezTo>
                    <a:pt x="811" y="387"/>
                    <a:pt x="811" y="387"/>
                    <a:pt x="811" y="387"/>
                  </a:cubicBezTo>
                  <a:cubicBezTo>
                    <a:pt x="952" y="305"/>
                    <a:pt x="952" y="305"/>
                    <a:pt x="952" y="305"/>
                  </a:cubicBezTo>
                  <a:cubicBezTo>
                    <a:pt x="959" y="301"/>
                    <a:pt x="963" y="294"/>
                    <a:pt x="963" y="286"/>
                  </a:cubicBezTo>
                  <a:cubicBezTo>
                    <a:pt x="963" y="111"/>
                    <a:pt x="963" y="111"/>
                    <a:pt x="963" y="111"/>
                  </a:cubicBezTo>
                  <a:cubicBezTo>
                    <a:pt x="963" y="103"/>
                    <a:pt x="959" y="96"/>
                    <a:pt x="952" y="92"/>
                  </a:cubicBezTo>
                  <a:cubicBezTo>
                    <a:pt x="800" y="4"/>
                    <a:pt x="800" y="4"/>
                    <a:pt x="800" y="4"/>
                  </a:cubicBezTo>
                  <a:cubicBezTo>
                    <a:pt x="793" y="0"/>
                    <a:pt x="785" y="0"/>
                    <a:pt x="778" y="4"/>
                  </a:cubicBezTo>
                  <a:cubicBezTo>
                    <a:pt x="626" y="92"/>
                    <a:pt x="626" y="92"/>
                    <a:pt x="626" y="92"/>
                  </a:cubicBezTo>
                  <a:cubicBezTo>
                    <a:pt x="619" y="96"/>
                    <a:pt x="615" y="103"/>
                    <a:pt x="615" y="111"/>
                  </a:cubicBezTo>
                  <a:cubicBezTo>
                    <a:pt x="615" y="286"/>
                    <a:pt x="615" y="286"/>
                    <a:pt x="615" y="286"/>
                  </a:cubicBezTo>
                  <a:cubicBezTo>
                    <a:pt x="615" y="294"/>
                    <a:pt x="619" y="301"/>
                    <a:pt x="626" y="305"/>
                  </a:cubicBezTo>
                  <a:cubicBezTo>
                    <a:pt x="767" y="387"/>
                    <a:pt x="767" y="387"/>
                    <a:pt x="767" y="387"/>
                  </a:cubicBezTo>
                  <a:cubicBezTo>
                    <a:pt x="767" y="562"/>
                    <a:pt x="767" y="562"/>
                    <a:pt x="767" y="562"/>
                  </a:cubicBezTo>
                  <a:cubicBezTo>
                    <a:pt x="492" y="720"/>
                    <a:pt x="492" y="720"/>
                    <a:pt x="492" y="720"/>
                  </a:cubicBezTo>
                  <a:cubicBezTo>
                    <a:pt x="348" y="634"/>
                    <a:pt x="348" y="634"/>
                    <a:pt x="348" y="634"/>
                  </a:cubicBezTo>
                  <a:cubicBezTo>
                    <a:pt x="348" y="471"/>
                    <a:pt x="348" y="471"/>
                    <a:pt x="348" y="471"/>
                  </a:cubicBezTo>
                  <a:cubicBezTo>
                    <a:pt x="348" y="463"/>
                    <a:pt x="344" y="456"/>
                    <a:pt x="337" y="452"/>
                  </a:cubicBezTo>
                  <a:cubicBezTo>
                    <a:pt x="185" y="364"/>
                    <a:pt x="185" y="364"/>
                    <a:pt x="185" y="364"/>
                  </a:cubicBezTo>
                  <a:cubicBezTo>
                    <a:pt x="179" y="360"/>
                    <a:pt x="170" y="360"/>
                    <a:pt x="163" y="364"/>
                  </a:cubicBezTo>
                  <a:cubicBezTo>
                    <a:pt x="11" y="452"/>
                    <a:pt x="11" y="452"/>
                    <a:pt x="11" y="452"/>
                  </a:cubicBezTo>
                  <a:cubicBezTo>
                    <a:pt x="5" y="456"/>
                    <a:pt x="0" y="463"/>
                    <a:pt x="0" y="471"/>
                  </a:cubicBezTo>
                  <a:cubicBezTo>
                    <a:pt x="0" y="646"/>
                    <a:pt x="0" y="646"/>
                    <a:pt x="0" y="646"/>
                  </a:cubicBezTo>
                  <a:cubicBezTo>
                    <a:pt x="0" y="654"/>
                    <a:pt x="5" y="661"/>
                    <a:pt x="11" y="665"/>
                  </a:cubicBezTo>
                  <a:cubicBezTo>
                    <a:pt x="163" y="753"/>
                    <a:pt x="163" y="753"/>
                    <a:pt x="163" y="753"/>
                  </a:cubicBezTo>
                  <a:cubicBezTo>
                    <a:pt x="167" y="755"/>
                    <a:pt x="171" y="756"/>
                    <a:pt x="174" y="756"/>
                  </a:cubicBezTo>
                  <a:cubicBezTo>
                    <a:pt x="178" y="756"/>
                    <a:pt x="182" y="755"/>
                    <a:pt x="185" y="753"/>
                  </a:cubicBezTo>
                  <a:cubicBezTo>
                    <a:pt x="326" y="672"/>
                    <a:pt x="326" y="672"/>
                    <a:pt x="326" y="672"/>
                  </a:cubicBezTo>
                  <a:cubicBezTo>
                    <a:pt x="470" y="758"/>
                    <a:pt x="470" y="758"/>
                    <a:pt x="470" y="758"/>
                  </a:cubicBezTo>
                  <a:cubicBezTo>
                    <a:pt x="470" y="1076"/>
                    <a:pt x="470" y="1076"/>
                    <a:pt x="470" y="1076"/>
                  </a:cubicBezTo>
                  <a:cubicBezTo>
                    <a:pt x="326" y="1162"/>
                    <a:pt x="326" y="1162"/>
                    <a:pt x="326" y="1162"/>
                  </a:cubicBezTo>
                  <a:cubicBezTo>
                    <a:pt x="185" y="1081"/>
                    <a:pt x="185" y="1081"/>
                    <a:pt x="185" y="1081"/>
                  </a:cubicBezTo>
                  <a:cubicBezTo>
                    <a:pt x="179" y="1077"/>
                    <a:pt x="170" y="1077"/>
                    <a:pt x="163" y="1081"/>
                  </a:cubicBezTo>
                  <a:cubicBezTo>
                    <a:pt x="11" y="1169"/>
                    <a:pt x="11" y="1169"/>
                    <a:pt x="11" y="1169"/>
                  </a:cubicBezTo>
                  <a:cubicBezTo>
                    <a:pt x="5" y="1173"/>
                    <a:pt x="0" y="1180"/>
                    <a:pt x="0" y="1188"/>
                  </a:cubicBezTo>
                  <a:cubicBezTo>
                    <a:pt x="0" y="1363"/>
                    <a:pt x="0" y="1363"/>
                    <a:pt x="0" y="1363"/>
                  </a:cubicBezTo>
                  <a:cubicBezTo>
                    <a:pt x="0" y="1371"/>
                    <a:pt x="5" y="1378"/>
                    <a:pt x="11" y="1382"/>
                  </a:cubicBezTo>
                  <a:cubicBezTo>
                    <a:pt x="163" y="1470"/>
                    <a:pt x="163" y="1470"/>
                    <a:pt x="163" y="1470"/>
                  </a:cubicBezTo>
                  <a:cubicBezTo>
                    <a:pt x="167" y="1472"/>
                    <a:pt x="171" y="1473"/>
                    <a:pt x="174" y="1473"/>
                  </a:cubicBezTo>
                  <a:cubicBezTo>
                    <a:pt x="178" y="1473"/>
                    <a:pt x="182" y="1472"/>
                    <a:pt x="185" y="1470"/>
                  </a:cubicBezTo>
                  <a:cubicBezTo>
                    <a:pt x="337" y="1382"/>
                    <a:pt x="337" y="1382"/>
                    <a:pt x="337" y="1382"/>
                  </a:cubicBezTo>
                  <a:cubicBezTo>
                    <a:pt x="344" y="1378"/>
                    <a:pt x="348" y="1371"/>
                    <a:pt x="348" y="1363"/>
                  </a:cubicBezTo>
                  <a:cubicBezTo>
                    <a:pt x="348" y="1200"/>
                    <a:pt x="348" y="1200"/>
                    <a:pt x="348" y="1200"/>
                  </a:cubicBezTo>
                  <a:cubicBezTo>
                    <a:pt x="492" y="1114"/>
                    <a:pt x="492" y="1114"/>
                    <a:pt x="492" y="1114"/>
                  </a:cubicBezTo>
                  <a:cubicBezTo>
                    <a:pt x="767" y="1272"/>
                    <a:pt x="767" y="1272"/>
                    <a:pt x="767" y="1272"/>
                  </a:cubicBezTo>
                  <a:cubicBezTo>
                    <a:pt x="767" y="1447"/>
                    <a:pt x="767" y="1447"/>
                    <a:pt x="767" y="1447"/>
                  </a:cubicBezTo>
                  <a:cubicBezTo>
                    <a:pt x="626" y="1529"/>
                    <a:pt x="626" y="1529"/>
                    <a:pt x="626" y="1529"/>
                  </a:cubicBezTo>
                  <a:cubicBezTo>
                    <a:pt x="619" y="1533"/>
                    <a:pt x="615" y="1540"/>
                    <a:pt x="615" y="1548"/>
                  </a:cubicBezTo>
                  <a:cubicBezTo>
                    <a:pt x="615" y="1723"/>
                    <a:pt x="615" y="1723"/>
                    <a:pt x="615" y="1723"/>
                  </a:cubicBezTo>
                  <a:cubicBezTo>
                    <a:pt x="615" y="1731"/>
                    <a:pt x="619" y="1738"/>
                    <a:pt x="626" y="1742"/>
                  </a:cubicBezTo>
                  <a:cubicBezTo>
                    <a:pt x="778" y="1830"/>
                    <a:pt x="778" y="1830"/>
                    <a:pt x="778" y="1830"/>
                  </a:cubicBezTo>
                  <a:cubicBezTo>
                    <a:pt x="781" y="1832"/>
                    <a:pt x="785" y="1833"/>
                    <a:pt x="789" y="1833"/>
                  </a:cubicBezTo>
                  <a:cubicBezTo>
                    <a:pt x="793" y="1833"/>
                    <a:pt x="797" y="1832"/>
                    <a:pt x="800" y="1830"/>
                  </a:cubicBezTo>
                  <a:cubicBezTo>
                    <a:pt x="952" y="1742"/>
                    <a:pt x="952" y="1742"/>
                    <a:pt x="952" y="1742"/>
                  </a:cubicBezTo>
                  <a:cubicBezTo>
                    <a:pt x="959" y="1738"/>
                    <a:pt x="963" y="1731"/>
                    <a:pt x="963" y="1723"/>
                  </a:cubicBezTo>
                  <a:cubicBezTo>
                    <a:pt x="963" y="1548"/>
                    <a:pt x="963" y="1548"/>
                    <a:pt x="963" y="1548"/>
                  </a:cubicBezTo>
                  <a:cubicBezTo>
                    <a:pt x="963" y="1540"/>
                    <a:pt x="959" y="1533"/>
                    <a:pt x="952" y="1529"/>
                  </a:cubicBezTo>
                  <a:cubicBezTo>
                    <a:pt x="811" y="1447"/>
                    <a:pt x="811" y="1447"/>
                    <a:pt x="811" y="1447"/>
                  </a:cubicBezTo>
                  <a:cubicBezTo>
                    <a:pt x="811" y="1272"/>
                    <a:pt x="811" y="1272"/>
                    <a:pt x="811" y="1272"/>
                  </a:cubicBezTo>
                  <a:cubicBezTo>
                    <a:pt x="1086" y="1114"/>
                    <a:pt x="1086" y="1114"/>
                    <a:pt x="1086" y="1114"/>
                  </a:cubicBezTo>
                  <a:cubicBezTo>
                    <a:pt x="1232" y="1200"/>
                    <a:pt x="1232" y="1200"/>
                    <a:pt x="1232" y="1200"/>
                  </a:cubicBezTo>
                  <a:cubicBezTo>
                    <a:pt x="1232" y="1363"/>
                    <a:pt x="1232" y="1363"/>
                    <a:pt x="1232" y="1363"/>
                  </a:cubicBezTo>
                  <a:cubicBezTo>
                    <a:pt x="1232" y="1371"/>
                    <a:pt x="1237" y="1378"/>
                    <a:pt x="1243" y="1382"/>
                  </a:cubicBezTo>
                  <a:cubicBezTo>
                    <a:pt x="1395" y="1470"/>
                    <a:pt x="1395" y="1470"/>
                    <a:pt x="1395" y="1470"/>
                  </a:cubicBezTo>
                  <a:cubicBezTo>
                    <a:pt x="1399" y="1472"/>
                    <a:pt x="1403" y="1473"/>
                    <a:pt x="1406" y="1473"/>
                  </a:cubicBezTo>
                  <a:cubicBezTo>
                    <a:pt x="1410" y="1473"/>
                    <a:pt x="1414" y="1472"/>
                    <a:pt x="1417" y="1470"/>
                  </a:cubicBezTo>
                  <a:cubicBezTo>
                    <a:pt x="1569" y="1382"/>
                    <a:pt x="1569" y="1382"/>
                    <a:pt x="1569" y="1382"/>
                  </a:cubicBezTo>
                  <a:cubicBezTo>
                    <a:pt x="1576" y="1378"/>
                    <a:pt x="1580" y="1371"/>
                    <a:pt x="1580" y="1363"/>
                  </a:cubicBezTo>
                  <a:cubicBezTo>
                    <a:pt x="1580" y="1188"/>
                    <a:pt x="1580" y="1188"/>
                    <a:pt x="1580" y="1188"/>
                  </a:cubicBezTo>
                  <a:cubicBezTo>
                    <a:pt x="1580" y="1180"/>
                    <a:pt x="1576" y="1173"/>
                    <a:pt x="1569" y="1169"/>
                  </a:cubicBezTo>
                  <a:cubicBezTo>
                    <a:pt x="1417" y="1081"/>
                    <a:pt x="1417" y="1081"/>
                    <a:pt x="1417" y="1081"/>
                  </a:cubicBezTo>
                  <a:cubicBezTo>
                    <a:pt x="1411" y="1077"/>
                    <a:pt x="1402" y="1077"/>
                    <a:pt x="1395" y="1081"/>
                  </a:cubicBezTo>
                  <a:cubicBezTo>
                    <a:pt x="1254" y="1162"/>
                    <a:pt x="1254" y="1162"/>
                    <a:pt x="1254" y="1162"/>
                  </a:cubicBezTo>
                  <a:cubicBezTo>
                    <a:pt x="1108" y="1076"/>
                    <a:pt x="1108" y="1076"/>
                    <a:pt x="1108" y="1076"/>
                  </a:cubicBezTo>
                  <a:lnTo>
                    <a:pt x="1108" y="758"/>
                  </a:lnTo>
                  <a:close/>
                  <a:moveTo>
                    <a:pt x="789" y="892"/>
                  </a:moveTo>
                  <a:cubicBezTo>
                    <a:pt x="536" y="746"/>
                    <a:pt x="536" y="746"/>
                    <a:pt x="536" y="746"/>
                  </a:cubicBezTo>
                  <a:cubicBezTo>
                    <a:pt x="789" y="600"/>
                    <a:pt x="789" y="600"/>
                    <a:pt x="789" y="600"/>
                  </a:cubicBezTo>
                  <a:cubicBezTo>
                    <a:pt x="1042" y="746"/>
                    <a:pt x="1042" y="746"/>
                    <a:pt x="1042" y="746"/>
                  </a:cubicBezTo>
                  <a:lnTo>
                    <a:pt x="789" y="892"/>
                  </a:lnTo>
                  <a:close/>
                  <a:moveTo>
                    <a:pt x="1276" y="483"/>
                  </a:moveTo>
                  <a:cubicBezTo>
                    <a:pt x="1406" y="408"/>
                    <a:pt x="1406" y="408"/>
                    <a:pt x="1406" y="408"/>
                  </a:cubicBezTo>
                  <a:cubicBezTo>
                    <a:pt x="1536" y="483"/>
                    <a:pt x="1536" y="483"/>
                    <a:pt x="1536" y="483"/>
                  </a:cubicBezTo>
                  <a:cubicBezTo>
                    <a:pt x="1536" y="634"/>
                    <a:pt x="1536" y="634"/>
                    <a:pt x="1536" y="634"/>
                  </a:cubicBezTo>
                  <a:cubicBezTo>
                    <a:pt x="1406" y="709"/>
                    <a:pt x="1406" y="709"/>
                    <a:pt x="1406" y="709"/>
                  </a:cubicBezTo>
                  <a:cubicBezTo>
                    <a:pt x="1276" y="634"/>
                    <a:pt x="1276" y="634"/>
                    <a:pt x="1276" y="634"/>
                  </a:cubicBezTo>
                  <a:lnTo>
                    <a:pt x="1276" y="483"/>
                  </a:lnTo>
                  <a:close/>
                  <a:moveTo>
                    <a:pt x="659" y="123"/>
                  </a:moveTo>
                  <a:cubicBezTo>
                    <a:pt x="789" y="48"/>
                    <a:pt x="789" y="48"/>
                    <a:pt x="789" y="48"/>
                  </a:cubicBezTo>
                  <a:cubicBezTo>
                    <a:pt x="919" y="123"/>
                    <a:pt x="919" y="123"/>
                    <a:pt x="919" y="123"/>
                  </a:cubicBezTo>
                  <a:cubicBezTo>
                    <a:pt x="919" y="274"/>
                    <a:pt x="919" y="274"/>
                    <a:pt x="919" y="274"/>
                  </a:cubicBezTo>
                  <a:cubicBezTo>
                    <a:pt x="789" y="349"/>
                    <a:pt x="789" y="349"/>
                    <a:pt x="789" y="349"/>
                  </a:cubicBezTo>
                  <a:cubicBezTo>
                    <a:pt x="659" y="274"/>
                    <a:pt x="659" y="274"/>
                    <a:pt x="659" y="274"/>
                  </a:cubicBezTo>
                  <a:lnTo>
                    <a:pt x="659" y="123"/>
                  </a:lnTo>
                  <a:close/>
                  <a:moveTo>
                    <a:pt x="304" y="634"/>
                  </a:moveTo>
                  <a:cubicBezTo>
                    <a:pt x="174" y="709"/>
                    <a:pt x="174" y="709"/>
                    <a:pt x="174" y="709"/>
                  </a:cubicBezTo>
                  <a:cubicBezTo>
                    <a:pt x="44" y="634"/>
                    <a:pt x="44" y="634"/>
                    <a:pt x="44" y="634"/>
                  </a:cubicBezTo>
                  <a:cubicBezTo>
                    <a:pt x="44" y="483"/>
                    <a:pt x="44" y="483"/>
                    <a:pt x="44" y="483"/>
                  </a:cubicBezTo>
                  <a:cubicBezTo>
                    <a:pt x="174" y="408"/>
                    <a:pt x="174" y="408"/>
                    <a:pt x="174" y="408"/>
                  </a:cubicBezTo>
                  <a:cubicBezTo>
                    <a:pt x="304" y="483"/>
                    <a:pt x="304" y="483"/>
                    <a:pt x="304" y="483"/>
                  </a:cubicBezTo>
                  <a:lnTo>
                    <a:pt x="304" y="634"/>
                  </a:lnTo>
                  <a:close/>
                  <a:moveTo>
                    <a:pt x="304" y="1351"/>
                  </a:moveTo>
                  <a:cubicBezTo>
                    <a:pt x="174" y="1426"/>
                    <a:pt x="174" y="1426"/>
                    <a:pt x="174" y="1426"/>
                  </a:cubicBezTo>
                  <a:cubicBezTo>
                    <a:pt x="44" y="1351"/>
                    <a:pt x="44" y="1351"/>
                    <a:pt x="44" y="1351"/>
                  </a:cubicBezTo>
                  <a:cubicBezTo>
                    <a:pt x="44" y="1200"/>
                    <a:pt x="44" y="1200"/>
                    <a:pt x="44" y="1200"/>
                  </a:cubicBezTo>
                  <a:cubicBezTo>
                    <a:pt x="174" y="1125"/>
                    <a:pt x="174" y="1125"/>
                    <a:pt x="174" y="1125"/>
                  </a:cubicBezTo>
                  <a:cubicBezTo>
                    <a:pt x="304" y="1200"/>
                    <a:pt x="304" y="1200"/>
                    <a:pt x="304" y="1200"/>
                  </a:cubicBezTo>
                  <a:lnTo>
                    <a:pt x="304" y="1351"/>
                  </a:lnTo>
                  <a:close/>
                  <a:moveTo>
                    <a:pt x="514" y="784"/>
                  </a:moveTo>
                  <a:cubicBezTo>
                    <a:pt x="767" y="930"/>
                    <a:pt x="767" y="930"/>
                    <a:pt x="767" y="930"/>
                  </a:cubicBezTo>
                  <a:cubicBezTo>
                    <a:pt x="767" y="1222"/>
                    <a:pt x="767" y="1222"/>
                    <a:pt x="767" y="1222"/>
                  </a:cubicBezTo>
                  <a:cubicBezTo>
                    <a:pt x="514" y="1076"/>
                    <a:pt x="514" y="1076"/>
                    <a:pt x="514" y="1076"/>
                  </a:cubicBezTo>
                  <a:lnTo>
                    <a:pt x="514" y="784"/>
                  </a:lnTo>
                  <a:close/>
                  <a:moveTo>
                    <a:pt x="919" y="1711"/>
                  </a:moveTo>
                  <a:cubicBezTo>
                    <a:pt x="789" y="1786"/>
                    <a:pt x="789" y="1786"/>
                    <a:pt x="789" y="1786"/>
                  </a:cubicBezTo>
                  <a:cubicBezTo>
                    <a:pt x="659" y="1711"/>
                    <a:pt x="659" y="1711"/>
                    <a:pt x="659" y="1711"/>
                  </a:cubicBezTo>
                  <a:cubicBezTo>
                    <a:pt x="659" y="1560"/>
                    <a:pt x="659" y="1560"/>
                    <a:pt x="659" y="1560"/>
                  </a:cubicBezTo>
                  <a:cubicBezTo>
                    <a:pt x="789" y="1485"/>
                    <a:pt x="789" y="1485"/>
                    <a:pt x="789" y="1485"/>
                  </a:cubicBezTo>
                  <a:cubicBezTo>
                    <a:pt x="919" y="1560"/>
                    <a:pt x="919" y="1560"/>
                    <a:pt x="919" y="1560"/>
                  </a:cubicBezTo>
                  <a:lnTo>
                    <a:pt x="919" y="1711"/>
                  </a:lnTo>
                  <a:close/>
                  <a:moveTo>
                    <a:pt x="811" y="1222"/>
                  </a:moveTo>
                  <a:cubicBezTo>
                    <a:pt x="811" y="930"/>
                    <a:pt x="811" y="930"/>
                    <a:pt x="811" y="930"/>
                  </a:cubicBezTo>
                  <a:cubicBezTo>
                    <a:pt x="1064" y="784"/>
                    <a:pt x="1064" y="784"/>
                    <a:pt x="1064" y="784"/>
                  </a:cubicBezTo>
                  <a:cubicBezTo>
                    <a:pt x="1064" y="1076"/>
                    <a:pt x="1064" y="1076"/>
                    <a:pt x="1064" y="1076"/>
                  </a:cubicBezTo>
                  <a:lnTo>
                    <a:pt x="811" y="1222"/>
                  </a:lnTo>
                  <a:close/>
                  <a:moveTo>
                    <a:pt x="1276" y="1200"/>
                  </a:moveTo>
                  <a:cubicBezTo>
                    <a:pt x="1406" y="1125"/>
                    <a:pt x="1406" y="1125"/>
                    <a:pt x="1406" y="1125"/>
                  </a:cubicBezTo>
                  <a:cubicBezTo>
                    <a:pt x="1536" y="1200"/>
                    <a:pt x="1536" y="1200"/>
                    <a:pt x="1536" y="1200"/>
                  </a:cubicBezTo>
                  <a:cubicBezTo>
                    <a:pt x="1536" y="1351"/>
                    <a:pt x="1536" y="1351"/>
                    <a:pt x="1536" y="1351"/>
                  </a:cubicBezTo>
                  <a:cubicBezTo>
                    <a:pt x="1406" y="1426"/>
                    <a:pt x="1406" y="1426"/>
                    <a:pt x="1406" y="1426"/>
                  </a:cubicBezTo>
                  <a:cubicBezTo>
                    <a:pt x="1276" y="1351"/>
                    <a:pt x="1276" y="1351"/>
                    <a:pt x="1276" y="1351"/>
                  </a:cubicBezTo>
                  <a:lnTo>
                    <a:pt x="1276" y="120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grpSp>
        <p:nvGrpSpPr>
          <p:cNvPr id="12" name="bcgIcons_BigDataAdvancedAnalytics">
            <a:extLst>
              <a:ext uri="{FF2B5EF4-FFF2-40B4-BE49-F238E27FC236}">
                <a16:creationId xmlns:a16="http://schemas.microsoft.com/office/drawing/2014/main" xmlns="" id="{1E6F2CA5-3D7F-4902-8F27-E316A278840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3579743" y="2199980"/>
            <a:ext cx="431777" cy="432310"/>
            <a:chOff x="1682" y="0"/>
            <a:chExt cx="4316" cy="4320"/>
          </a:xfrm>
        </p:grpSpPr>
        <p:sp>
          <p:nvSpPr>
            <p:cNvPr id="13" name="AutoShape 33">
              <a:extLst>
                <a:ext uri="{FF2B5EF4-FFF2-40B4-BE49-F238E27FC236}">
                  <a16:creationId xmlns:a16="http://schemas.microsoft.com/office/drawing/2014/main" xmlns="" id="{BEA87593-71B2-42B3-8D7D-5D8C76D3E4A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" name="Freeform 35">
              <a:extLst>
                <a:ext uri="{FF2B5EF4-FFF2-40B4-BE49-F238E27FC236}">
                  <a16:creationId xmlns:a16="http://schemas.microsoft.com/office/drawing/2014/main" xmlns="" id="{2C6EA767-80DA-4F8F-A48D-51770E3E0E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33" y="444"/>
              <a:ext cx="3417" cy="3428"/>
            </a:xfrm>
            <a:custGeom>
              <a:avLst/>
              <a:gdLst>
                <a:gd name="T0" fmla="*/ 236 w 1824"/>
                <a:gd name="T1" fmla="*/ 118 h 1828"/>
                <a:gd name="T2" fmla="*/ 118 w 1824"/>
                <a:gd name="T3" fmla="*/ 191 h 1828"/>
                <a:gd name="T4" fmla="*/ 414 w 1824"/>
                <a:gd name="T5" fmla="*/ 22 h 1828"/>
                <a:gd name="T6" fmla="*/ 458 w 1824"/>
                <a:gd name="T7" fmla="*/ 22 h 1828"/>
                <a:gd name="T8" fmla="*/ 753 w 1824"/>
                <a:gd name="T9" fmla="*/ 0 h 1828"/>
                <a:gd name="T10" fmla="*/ 680 w 1824"/>
                <a:gd name="T11" fmla="*/ 118 h 1828"/>
                <a:gd name="T12" fmla="*/ 1071 w 1824"/>
                <a:gd name="T13" fmla="*/ 0 h 1828"/>
                <a:gd name="T14" fmla="*/ 1093 w 1824"/>
                <a:gd name="T15" fmla="*/ 213 h 1828"/>
                <a:gd name="T16" fmla="*/ 1366 w 1824"/>
                <a:gd name="T17" fmla="*/ 22 h 1828"/>
                <a:gd name="T18" fmla="*/ 1410 w 1824"/>
                <a:gd name="T19" fmla="*/ 22 h 1828"/>
                <a:gd name="T20" fmla="*/ 1706 w 1824"/>
                <a:gd name="T21" fmla="*/ 0 h 1828"/>
                <a:gd name="T22" fmla="*/ 1632 w 1824"/>
                <a:gd name="T23" fmla="*/ 118 h 1828"/>
                <a:gd name="T24" fmla="*/ 118 w 1824"/>
                <a:gd name="T25" fmla="*/ 319 h 1828"/>
                <a:gd name="T26" fmla="*/ 140 w 1824"/>
                <a:gd name="T27" fmla="*/ 532 h 1828"/>
                <a:gd name="T28" fmla="*/ 953 w 1824"/>
                <a:gd name="T29" fmla="*/ 436 h 1828"/>
                <a:gd name="T30" fmla="*/ 1071 w 1824"/>
                <a:gd name="T31" fmla="*/ 363 h 1828"/>
                <a:gd name="T32" fmla="*/ 1071 w 1824"/>
                <a:gd name="T33" fmla="*/ 363 h 1828"/>
                <a:gd name="T34" fmla="*/ 1388 w 1824"/>
                <a:gd name="T35" fmla="*/ 554 h 1828"/>
                <a:gd name="T36" fmla="*/ 1706 w 1824"/>
                <a:gd name="T37" fmla="*/ 554 h 1828"/>
                <a:gd name="T38" fmla="*/ 1706 w 1824"/>
                <a:gd name="T39" fmla="*/ 554 h 1828"/>
                <a:gd name="T40" fmla="*/ 1780 w 1824"/>
                <a:gd name="T41" fmla="*/ 436 h 1828"/>
                <a:gd name="T42" fmla="*/ 118 w 1824"/>
                <a:gd name="T43" fmla="*/ 637 h 1828"/>
                <a:gd name="T44" fmla="*/ 44 w 1824"/>
                <a:gd name="T45" fmla="*/ 755 h 1828"/>
                <a:gd name="T46" fmla="*/ 1071 w 1824"/>
                <a:gd name="T47" fmla="*/ 872 h 1828"/>
                <a:gd name="T48" fmla="*/ 1071 w 1824"/>
                <a:gd name="T49" fmla="*/ 872 h 1828"/>
                <a:gd name="T50" fmla="*/ 1144 w 1824"/>
                <a:gd name="T51" fmla="*/ 755 h 1828"/>
                <a:gd name="T52" fmla="*/ 1388 w 1824"/>
                <a:gd name="T53" fmla="*/ 637 h 1828"/>
                <a:gd name="T54" fmla="*/ 1315 w 1824"/>
                <a:gd name="T55" fmla="*/ 755 h 1828"/>
                <a:gd name="T56" fmla="*/ 1706 w 1824"/>
                <a:gd name="T57" fmla="*/ 637 h 1828"/>
                <a:gd name="T58" fmla="*/ 1728 w 1824"/>
                <a:gd name="T59" fmla="*/ 850 h 1828"/>
                <a:gd name="T60" fmla="*/ 96 w 1824"/>
                <a:gd name="T61" fmla="*/ 978 h 1828"/>
                <a:gd name="T62" fmla="*/ 140 w 1824"/>
                <a:gd name="T63" fmla="*/ 978 h 1828"/>
                <a:gd name="T64" fmla="*/ 436 w 1824"/>
                <a:gd name="T65" fmla="*/ 956 h 1828"/>
                <a:gd name="T66" fmla="*/ 362 w 1824"/>
                <a:gd name="T67" fmla="*/ 1073 h 1828"/>
                <a:gd name="T68" fmla="*/ 753 w 1824"/>
                <a:gd name="T69" fmla="*/ 956 h 1828"/>
                <a:gd name="T70" fmla="*/ 775 w 1824"/>
                <a:gd name="T71" fmla="*/ 1169 h 1828"/>
                <a:gd name="T72" fmla="*/ 1049 w 1824"/>
                <a:gd name="T73" fmla="*/ 978 h 1828"/>
                <a:gd name="T74" fmla="*/ 1093 w 1824"/>
                <a:gd name="T75" fmla="*/ 978 h 1828"/>
                <a:gd name="T76" fmla="*/ 1388 w 1824"/>
                <a:gd name="T77" fmla="*/ 956 h 1828"/>
                <a:gd name="T78" fmla="*/ 1315 w 1824"/>
                <a:gd name="T79" fmla="*/ 1073 h 1828"/>
                <a:gd name="T80" fmla="*/ 1706 w 1824"/>
                <a:gd name="T81" fmla="*/ 956 h 1828"/>
                <a:gd name="T82" fmla="*/ 1728 w 1824"/>
                <a:gd name="T83" fmla="*/ 1169 h 1828"/>
                <a:gd name="T84" fmla="*/ 0 w 1824"/>
                <a:gd name="T85" fmla="*/ 1392 h 1828"/>
                <a:gd name="T86" fmla="*/ 118 w 1824"/>
                <a:gd name="T87" fmla="*/ 1318 h 1828"/>
                <a:gd name="T88" fmla="*/ 118 w 1824"/>
                <a:gd name="T89" fmla="*/ 1318 h 1828"/>
                <a:gd name="T90" fmla="*/ 436 w 1824"/>
                <a:gd name="T91" fmla="*/ 1509 h 1828"/>
                <a:gd name="T92" fmla="*/ 753 w 1824"/>
                <a:gd name="T93" fmla="*/ 1509 h 1828"/>
                <a:gd name="T94" fmla="*/ 753 w 1824"/>
                <a:gd name="T95" fmla="*/ 1509 h 1828"/>
                <a:gd name="T96" fmla="*/ 827 w 1824"/>
                <a:gd name="T97" fmla="*/ 1392 h 1828"/>
                <a:gd name="T98" fmla="*/ 1706 w 1824"/>
                <a:gd name="T99" fmla="*/ 1274 h 1828"/>
                <a:gd name="T100" fmla="*/ 1632 w 1824"/>
                <a:gd name="T101" fmla="*/ 1392 h 1828"/>
                <a:gd name="T102" fmla="*/ 118 w 1824"/>
                <a:gd name="T103" fmla="*/ 1828 h 1828"/>
                <a:gd name="T104" fmla="*/ 118 w 1824"/>
                <a:gd name="T105" fmla="*/ 1828 h 1828"/>
                <a:gd name="T106" fmla="*/ 192 w 1824"/>
                <a:gd name="T107" fmla="*/ 1710 h 1828"/>
                <a:gd name="T108" fmla="*/ 414 w 1824"/>
                <a:gd name="T109" fmla="*/ 1806 h 1828"/>
                <a:gd name="T110" fmla="*/ 436 w 1824"/>
                <a:gd name="T111" fmla="*/ 1593 h 1828"/>
                <a:gd name="T112" fmla="*/ 871 w 1824"/>
                <a:gd name="T113" fmla="*/ 1710 h 1828"/>
                <a:gd name="T114" fmla="*/ 753 w 1824"/>
                <a:gd name="T115" fmla="*/ 1784 h 1828"/>
                <a:gd name="T116" fmla="*/ 1588 w 1824"/>
                <a:gd name="T117" fmla="*/ 1710 h 1828"/>
                <a:gd name="T118" fmla="*/ 1706 w 1824"/>
                <a:gd name="T119" fmla="*/ 1637 h 1828"/>
                <a:gd name="T120" fmla="*/ 1706 w 1824"/>
                <a:gd name="T121" fmla="*/ 1637 h 1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24" h="1828">
                  <a:moveTo>
                    <a:pt x="118" y="235"/>
                  </a:moveTo>
                  <a:cubicBezTo>
                    <a:pt x="53" y="235"/>
                    <a:pt x="0" y="183"/>
                    <a:pt x="0" y="118"/>
                  </a:cubicBezTo>
                  <a:cubicBezTo>
                    <a:pt x="0" y="53"/>
                    <a:pt x="53" y="0"/>
                    <a:pt x="118" y="0"/>
                  </a:cubicBezTo>
                  <a:cubicBezTo>
                    <a:pt x="183" y="0"/>
                    <a:pt x="236" y="53"/>
                    <a:pt x="236" y="118"/>
                  </a:cubicBezTo>
                  <a:cubicBezTo>
                    <a:pt x="236" y="183"/>
                    <a:pt x="183" y="235"/>
                    <a:pt x="118" y="235"/>
                  </a:cubicBezTo>
                  <a:close/>
                  <a:moveTo>
                    <a:pt x="118" y="44"/>
                  </a:moveTo>
                  <a:cubicBezTo>
                    <a:pt x="77" y="44"/>
                    <a:pt x="44" y="77"/>
                    <a:pt x="44" y="118"/>
                  </a:cubicBezTo>
                  <a:cubicBezTo>
                    <a:pt x="44" y="158"/>
                    <a:pt x="77" y="191"/>
                    <a:pt x="118" y="191"/>
                  </a:cubicBezTo>
                  <a:cubicBezTo>
                    <a:pt x="159" y="191"/>
                    <a:pt x="192" y="158"/>
                    <a:pt x="192" y="118"/>
                  </a:cubicBezTo>
                  <a:cubicBezTo>
                    <a:pt x="192" y="77"/>
                    <a:pt x="159" y="44"/>
                    <a:pt x="118" y="44"/>
                  </a:cubicBezTo>
                  <a:close/>
                  <a:moveTo>
                    <a:pt x="436" y="0"/>
                  </a:moveTo>
                  <a:cubicBezTo>
                    <a:pt x="424" y="0"/>
                    <a:pt x="414" y="10"/>
                    <a:pt x="414" y="22"/>
                  </a:cubicBezTo>
                  <a:cubicBezTo>
                    <a:pt x="414" y="213"/>
                    <a:pt x="414" y="213"/>
                    <a:pt x="414" y="213"/>
                  </a:cubicBezTo>
                  <a:cubicBezTo>
                    <a:pt x="414" y="225"/>
                    <a:pt x="424" y="235"/>
                    <a:pt x="436" y="235"/>
                  </a:cubicBezTo>
                  <a:cubicBezTo>
                    <a:pt x="448" y="235"/>
                    <a:pt x="458" y="225"/>
                    <a:pt x="458" y="213"/>
                  </a:cubicBezTo>
                  <a:cubicBezTo>
                    <a:pt x="458" y="22"/>
                    <a:pt x="458" y="22"/>
                    <a:pt x="458" y="22"/>
                  </a:cubicBezTo>
                  <a:cubicBezTo>
                    <a:pt x="458" y="10"/>
                    <a:pt x="448" y="0"/>
                    <a:pt x="436" y="0"/>
                  </a:cubicBezTo>
                  <a:close/>
                  <a:moveTo>
                    <a:pt x="753" y="235"/>
                  </a:moveTo>
                  <a:cubicBezTo>
                    <a:pt x="688" y="235"/>
                    <a:pt x="636" y="183"/>
                    <a:pt x="636" y="118"/>
                  </a:cubicBezTo>
                  <a:cubicBezTo>
                    <a:pt x="636" y="53"/>
                    <a:pt x="688" y="0"/>
                    <a:pt x="753" y="0"/>
                  </a:cubicBezTo>
                  <a:cubicBezTo>
                    <a:pt x="818" y="0"/>
                    <a:pt x="871" y="53"/>
                    <a:pt x="871" y="118"/>
                  </a:cubicBezTo>
                  <a:cubicBezTo>
                    <a:pt x="871" y="183"/>
                    <a:pt x="818" y="235"/>
                    <a:pt x="753" y="235"/>
                  </a:cubicBezTo>
                  <a:close/>
                  <a:moveTo>
                    <a:pt x="753" y="44"/>
                  </a:moveTo>
                  <a:cubicBezTo>
                    <a:pt x="713" y="44"/>
                    <a:pt x="680" y="77"/>
                    <a:pt x="680" y="118"/>
                  </a:cubicBezTo>
                  <a:cubicBezTo>
                    <a:pt x="680" y="158"/>
                    <a:pt x="713" y="191"/>
                    <a:pt x="753" y="191"/>
                  </a:cubicBezTo>
                  <a:cubicBezTo>
                    <a:pt x="794" y="191"/>
                    <a:pt x="827" y="158"/>
                    <a:pt x="827" y="118"/>
                  </a:cubicBezTo>
                  <a:cubicBezTo>
                    <a:pt x="827" y="77"/>
                    <a:pt x="794" y="44"/>
                    <a:pt x="753" y="44"/>
                  </a:cubicBezTo>
                  <a:close/>
                  <a:moveTo>
                    <a:pt x="1071" y="0"/>
                  </a:moveTo>
                  <a:cubicBezTo>
                    <a:pt x="1059" y="0"/>
                    <a:pt x="1049" y="10"/>
                    <a:pt x="1049" y="22"/>
                  </a:cubicBezTo>
                  <a:cubicBezTo>
                    <a:pt x="1049" y="213"/>
                    <a:pt x="1049" y="213"/>
                    <a:pt x="1049" y="213"/>
                  </a:cubicBezTo>
                  <a:cubicBezTo>
                    <a:pt x="1049" y="225"/>
                    <a:pt x="1059" y="235"/>
                    <a:pt x="1071" y="235"/>
                  </a:cubicBezTo>
                  <a:cubicBezTo>
                    <a:pt x="1083" y="235"/>
                    <a:pt x="1093" y="225"/>
                    <a:pt x="1093" y="213"/>
                  </a:cubicBezTo>
                  <a:cubicBezTo>
                    <a:pt x="1093" y="22"/>
                    <a:pt x="1093" y="22"/>
                    <a:pt x="1093" y="22"/>
                  </a:cubicBezTo>
                  <a:cubicBezTo>
                    <a:pt x="1093" y="10"/>
                    <a:pt x="1083" y="0"/>
                    <a:pt x="1071" y="0"/>
                  </a:cubicBezTo>
                  <a:close/>
                  <a:moveTo>
                    <a:pt x="1388" y="0"/>
                  </a:moveTo>
                  <a:cubicBezTo>
                    <a:pt x="1376" y="0"/>
                    <a:pt x="1366" y="10"/>
                    <a:pt x="1366" y="22"/>
                  </a:cubicBezTo>
                  <a:cubicBezTo>
                    <a:pt x="1366" y="213"/>
                    <a:pt x="1366" y="213"/>
                    <a:pt x="1366" y="213"/>
                  </a:cubicBezTo>
                  <a:cubicBezTo>
                    <a:pt x="1366" y="225"/>
                    <a:pt x="1376" y="235"/>
                    <a:pt x="1388" y="235"/>
                  </a:cubicBezTo>
                  <a:cubicBezTo>
                    <a:pt x="1400" y="235"/>
                    <a:pt x="1410" y="225"/>
                    <a:pt x="1410" y="213"/>
                  </a:cubicBezTo>
                  <a:cubicBezTo>
                    <a:pt x="1410" y="22"/>
                    <a:pt x="1410" y="22"/>
                    <a:pt x="1410" y="22"/>
                  </a:cubicBezTo>
                  <a:cubicBezTo>
                    <a:pt x="1410" y="10"/>
                    <a:pt x="1400" y="0"/>
                    <a:pt x="1388" y="0"/>
                  </a:cubicBezTo>
                  <a:close/>
                  <a:moveTo>
                    <a:pt x="1706" y="235"/>
                  </a:moveTo>
                  <a:cubicBezTo>
                    <a:pt x="1641" y="235"/>
                    <a:pt x="1588" y="183"/>
                    <a:pt x="1588" y="118"/>
                  </a:cubicBezTo>
                  <a:cubicBezTo>
                    <a:pt x="1588" y="53"/>
                    <a:pt x="1641" y="0"/>
                    <a:pt x="1706" y="0"/>
                  </a:cubicBezTo>
                  <a:cubicBezTo>
                    <a:pt x="1771" y="0"/>
                    <a:pt x="1824" y="53"/>
                    <a:pt x="1824" y="118"/>
                  </a:cubicBezTo>
                  <a:cubicBezTo>
                    <a:pt x="1824" y="183"/>
                    <a:pt x="1771" y="235"/>
                    <a:pt x="1706" y="235"/>
                  </a:cubicBezTo>
                  <a:close/>
                  <a:moveTo>
                    <a:pt x="1706" y="44"/>
                  </a:moveTo>
                  <a:cubicBezTo>
                    <a:pt x="1665" y="44"/>
                    <a:pt x="1632" y="77"/>
                    <a:pt x="1632" y="118"/>
                  </a:cubicBezTo>
                  <a:cubicBezTo>
                    <a:pt x="1632" y="158"/>
                    <a:pt x="1665" y="191"/>
                    <a:pt x="1706" y="191"/>
                  </a:cubicBezTo>
                  <a:cubicBezTo>
                    <a:pt x="1747" y="191"/>
                    <a:pt x="1780" y="158"/>
                    <a:pt x="1780" y="118"/>
                  </a:cubicBezTo>
                  <a:cubicBezTo>
                    <a:pt x="1780" y="77"/>
                    <a:pt x="1747" y="44"/>
                    <a:pt x="1706" y="44"/>
                  </a:cubicBezTo>
                  <a:close/>
                  <a:moveTo>
                    <a:pt x="118" y="319"/>
                  </a:moveTo>
                  <a:cubicBezTo>
                    <a:pt x="106" y="319"/>
                    <a:pt x="96" y="328"/>
                    <a:pt x="96" y="341"/>
                  </a:cubicBezTo>
                  <a:cubicBezTo>
                    <a:pt x="96" y="532"/>
                    <a:pt x="96" y="532"/>
                    <a:pt x="96" y="532"/>
                  </a:cubicBezTo>
                  <a:cubicBezTo>
                    <a:pt x="96" y="544"/>
                    <a:pt x="106" y="554"/>
                    <a:pt x="118" y="554"/>
                  </a:cubicBezTo>
                  <a:cubicBezTo>
                    <a:pt x="130" y="554"/>
                    <a:pt x="140" y="544"/>
                    <a:pt x="140" y="532"/>
                  </a:cubicBezTo>
                  <a:cubicBezTo>
                    <a:pt x="140" y="341"/>
                    <a:pt x="140" y="341"/>
                    <a:pt x="140" y="341"/>
                  </a:cubicBezTo>
                  <a:cubicBezTo>
                    <a:pt x="140" y="328"/>
                    <a:pt x="130" y="319"/>
                    <a:pt x="118" y="319"/>
                  </a:cubicBezTo>
                  <a:close/>
                  <a:moveTo>
                    <a:pt x="1071" y="554"/>
                  </a:moveTo>
                  <a:cubicBezTo>
                    <a:pt x="1006" y="554"/>
                    <a:pt x="953" y="501"/>
                    <a:pt x="953" y="436"/>
                  </a:cubicBezTo>
                  <a:cubicBezTo>
                    <a:pt x="953" y="371"/>
                    <a:pt x="1006" y="319"/>
                    <a:pt x="1071" y="319"/>
                  </a:cubicBezTo>
                  <a:cubicBezTo>
                    <a:pt x="1136" y="319"/>
                    <a:pt x="1188" y="371"/>
                    <a:pt x="1188" y="436"/>
                  </a:cubicBezTo>
                  <a:cubicBezTo>
                    <a:pt x="1188" y="501"/>
                    <a:pt x="1136" y="554"/>
                    <a:pt x="1071" y="554"/>
                  </a:cubicBezTo>
                  <a:close/>
                  <a:moveTo>
                    <a:pt x="1071" y="363"/>
                  </a:moveTo>
                  <a:cubicBezTo>
                    <a:pt x="1030" y="363"/>
                    <a:pt x="997" y="396"/>
                    <a:pt x="997" y="436"/>
                  </a:cubicBezTo>
                  <a:cubicBezTo>
                    <a:pt x="997" y="477"/>
                    <a:pt x="1030" y="510"/>
                    <a:pt x="1071" y="510"/>
                  </a:cubicBezTo>
                  <a:cubicBezTo>
                    <a:pt x="1111" y="510"/>
                    <a:pt x="1144" y="477"/>
                    <a:pt x="1144" y="436"/>
                  </a:cubicBezTo>
                  <a:cubicBezTo>
                    <a:pt x="1144" y="396"/>
                    <a:pt x="1111" y="363"/>
                    <a:pt x="1071" y="363"/>
                  </a:cubicBezTo>
                  <a:close/>
                  <a:moveTo>
                    <a:pt x="1388" y="319"/>
                  </a:moveTo>
                  <a:cubicBezTo>
                    <a:pt x="1376" y="319"/>
                    <a:pt x="1366" y="328"/>
                    <a:pt x="1366" y="341"/>
                  </a:cubicBezTo>
                  <a:cubicBezTo>
                    <a:pt x="1366" y="532"/>
                    <a:pt x="1366" y="532"/>
                    <a:pt x="1366" y="532"/>
                  </a:cubicBezTo>
                  <a:cubicBezTo>
                    <a:pt x="1366" y="544"/>
                    <a:pt x="1376" y="554"/>
                    <a:pt x="1388" y="554"/>
                  </a:cubicBezTo>
                  <a:cubicBezTo>
                    <a:pt x="1400" y="554"/>
                    <a:pt x="1410" y="544"/>
                    <a:pt x="1410" y="532"/>
                  </a:cubicBezTo>
                  <a:cubicBezTo>
                    <a:pt x="1410" y="341"/>
                    <a:pt x="1410" y="341"/>
                    <a:pt x="1410" y="341"/>
                  </a:cubicBezTo>
                  <a:cubicBezTo>
                    <a:pt x="1410" y="328"/>
                    <a:pt x="1400" y="319"/>
                    <a:pt x="1388" y="319"/>
                  </a:cubicBezTo>
                  <a:close/>
                  <a:moveTo>
                    <a:pt x="1706" y="554"/>
                  </a:moveTo>
                  <a:cubicBezTo>
                    <a:pt x="1641" y="554"/>
                    <a:pt x="1588" y="501"/>
                    <a:pt x="1588" y="436"/>
                  </a:cubicBezTo>
                  <a:cubicBezTo>
                    <a:pt x="1588" y="371"/>
                    <a:pt x="1641" y="319"/>
                    <a:pt x="1706" y="319"/>
                  </a:cubicBezTo>
                  <a:cubicBezTo>
                    <a:pt x="1771" y="319"/>
                    <a:pt x="1824" y="371"/>
                    <a:pt x="1824" y="436"/>
                  </a:cubicBezTo>
                  <a:cubicBezTo>
                    <a:pt x="1824" y="501"/>
                    <a:pt x="1771" y="554"/>
                    <a:pt x="1706" y="554"/>
                  </a:cubicBezTo>
                  <a:close/>
                  <a:moveTo>
                    <a:pt x="1706" y="363"/>
                  </a:moveTo>
                  <a:cubicBezTo>
                    <a:pt x="1665" y="363"/>
                    <a:pt x="1632" y="396"/>
                    <a:pt x="1632" y="436"/>
                  </a:cubicBezTo>
                  <a:cubicBezTo>
                    <a:pt x="1632" y="477"/>
                    <a:pt x="1665" y="510"/>
                    <a:pt x="1706" y="510"/>
                  </a:cubicBezTo>
                  <a:cubicBezTo>
                    <a:pt x="1747" y="510"/>
                    <a:pt x="1780" y="477"/>
                    <a:pt x="1780" y="436"/>
                  </a:cubicBezTo>
                  <a:cubicBezTo>
                    <a:pt x="1780" y="396"/>
                    <a:pt x="1747" y="363"/>
                    <a:pt x="1706" y="363"/>
                  </a:cubicBezTo>
                  <a:close/>
                  <a:moveTo>
                    <a:pt x="118" y="872"/>
                  </a:moveTo>
                  <a:cubicBezTo>
                    <a:pt x="53" y="872"/>
                    <a:pt x="0" y="820"/>
                    <a:pt x="0" y="755"/>
                  </a:cubicBezTo>
                  <a:cubicBezTo>
                    <a:pt x="0" y="690"/>
                    <a:pt x="53" y="637"/>
                    <a:pt x="118" y="637"/>
                  </a:cubicBezTo>
                  <a:cubicBezTo>
                    <a:pt x="183" y="637"/>
                    <a:pt x="236" y="690"/>
                    <a:pt x="236" y="755"/>
                  </a:cubicBezTo>
                  <a:cubicBezTo>
                    <a:pt x="236" y="820"/>
                    <a:pt x="183" y="872"/>
                    <a:pt x="118" y="872"/>
                  </a:cubicBezTo>
                  <a:close/>
                  <a:moveTo>
                    <a:pt x="118" y="681"/>
                  </a:moveTo>
                  <a:cubicBezTo>
                    <a:pt x="77" y="681"/>
                    <a:pt x="44" y="714"/>
                    <a:pt x="44" y="755"/>
                  </a:cubicBezTo>
                  <a:cubicBezTo>
                    <a:pt x="44" y="795"/>
                    <a:pt x="77" y="828"/>
                    <a:pt x="118" y="828"/>
                  </a:cubicBezTo>
                  <a:cubicBezTo>
                    <a:pt x="159" y="828"/>
                    <a:pt x="192" y="795"/>
                    <a:pt x="192" y="755"/>
                  </a:cubicBezTo>
                  <a:cubicBezTo>
                    <a:pt x="192" y="714"/>
                    <a:pt x="159" y="681"/>
                    <a:pt x="118" y="681"/>
                  </a:cubicBezTo>
                  <a:close/>
                  <a:moveTo>
                    <a:pt x="1071" y="872"/>
                  </a:moveTo>
                  <a:cubicBezTo>
                    <a:pt x="1006" y="872"/>
                    <a:pt x="953" y="820"/>
                    <a:pt x="953" y="755"/>
                  </a:cubicBezTo>
                  <a:cubicBezTo>
                    <a:pt x="953" y="690"/>
                    <a:pt x="1006" y="637"/>
                    <a:pt x="1071" y="637"/>
                  </a:cubicBezTo>
                  <a:cubicBezTo>
                    <a:pt x="1136" y="637"/>
                    <a:pt x="1188" y="690"/>
                    <a:pt x="1188" y="755"/>
                  </a:cubicBezTo>
                  <a:cubicBezTo>
                    <a:pt x="1188" y="820"/>
                    <a:pt x="1136" y="872"/>
                    <a:pt x="1071" y="872"/>
                  </a:cubicBezTo>
                  <a:close/>
                  <a:moveTo>
                    <a:pt x="1071" y="681"/>
                  </a:moveTo>
                  <a:cubicBezTo>
                    <a:pt x="1030" y="681"/>
                    <a:pt x="997" y="714"/>
                    <a:pt x="997" y="755"/>
                  </a:cubicBezTo>
                  <a:cubicBezTo>
                    <a:pt x="997" y="795"/>
                    <a:pt x="1030" y="828"/>
                    <a:pt x="1071" y="828"/>
                  </a:cubicBezTo>
                  <a:cubicBezTo>
                    <a:pt x="1111" y="828"/>
                    <a:pt x="1144" y="795"/>
                    <a:pt x="1144" y="755"/>
                  </a:cubicBezTo>
                  <a:cubicBezTo>
                    <a:pt x="1144" y="714"/>
                    <a:pt x="1111" y="681"/>
                    <a:pt x="1071" y="681"/>
                  </a:cubicBezTo>
                  <a:close/>
                  <a:moveTo>
                    <a:pt x="1388" y="872"/>
                  </a:moveTo>
                  <a:cubicBezTo>
                    <a:pt x="1323" y="872"/>
                    <a:pt x="1271" y="820"/>
                    <a:pt x="1271" y="755"/>
                  </a:cubicBezTo>
                  <a:cubicBezTo>
                    <a:pt x="1271" y="690"/>
                    <a:pt x="1323" y="637"/>
                    <a:pt x="1388" y="637"/>
                  </a:cubicBezTo>
                  <a:cubicBezTo>
                    <a:pt x="1453" y="637"/>
                    <a:pt x="1506" y="690"/>
                    <a:pt x="1506" y="755"/>
                  </a:cubicBezTo>
                  <a:cubicBezTo>
                    <a:pt x="1506" y="820"/>
                    <a:pt x="1453" y="872"/>
                    <a:pt x="1388" y="872"/>
                  </a:cubicBezTo>
                  <a:close/>
                  <a:moveTo>
                    <a:pt x="1388" y="681"/>
                  </a:moveTo>
                  <a:cubicBezTo>
                    <a:pt x="1348" y="681"/>
                    <a:pt x="1315" y="714"/>
                    <a:pt x="1315" y="755"/>
                  </a:cubicBezTo>
                  <a:cubicBezTo>
                    <a:pt x="1315" y="795"/>
                    <a:pt x="1348" y="828"/>
                    <a:pt x="1388" y="828"/>
                  </a:cubicBezTo>
                  <a:cubicBezTo>
                    <a:pt x="1429" y="828"/>
                    <a:pt x="1462" y="795"/>
                    <a:pt x="1462" y="755"/>
                  </a:cubicBezTo>
                  <a:cubicBezTo>
                    <a:pt x="1462" y="714"/>
                    <a:pt x="1429" y="681"/>
                    <a:pt x="1388" y="681"/>
                  </a:cubicBezTo>
                  <a:close/>
                  <a:moveTo>
                    <a:pt x="1706" y="637"/>
                  </a:moveTo>
                  <a:cubicBezTo>
                    <a:pt x="1694" y="637"/>
                    <a:pt x="1684" y="647"/>
                    <a:pt x="1684" y="659"/>
                  </a:cubicBezTo>
                  <a:cubicBezTo>
                    <a:pt x="1684" y="850"/>
                    <a:pt x="1684" y="850"/>
                    <a:pt x="1684" y="850"/>
                  </a:cubicBezTo>
                  <a:cubicBezTo>
                    <a:pt x="1684" y="863"/>
                    <a:pt x="1694" y="872"/>
                    <a:pt x="1706" y="872"/>
                  </a:cubicBezTo>
                  <a:cubicBezTo>
                    <a:pt x="1718" y="872"/>
                    <a:pt x="1728" y="863"/>
                    <a:pt x="1728" y="850"/>
                  </a:cubicBezTo>
                  <a:cubicBezTo>
                    <a:pt x="1728" y="659"/>
                    <a:pt x="1728" y="659"/>
                    <a:pt x="1728" y="659"/>
                  </a:cubicBezTo>
                  <a:cubicBezTo>
                    <a:pt x="1728" y="647"/>
                    <a:pt x="1718" y="637"/>
                    <a:pt x="1706" y="637"/>
                  </a:cubicBezTo>
                  <a:close/>
                  <a:moveTo>
                    <a:pt x="118" y="956"/>
                  </a:moveTo>
                  <a:cubicBezTo>
                    <a:pt x="106" y="956"/>
                    <a:pt x="96" y="965"/>
                    <a:pt x="96" y="978"/>
                  </a:cubicBezTo>
                  <a:cubicBezTo>
                    <a:pt x="96" y="1169"/>
                    <a:pt x="96" y="1169"/>
                    <a:pt x="96" y="1169"/>
                  </a:cubicBezTo>
                  <a:cubicBezTo>
                    <a:pt x="96" y="1181"/>
                    <a:pt x="106" y="1191"/>
                    <a:pt x="118" y="1191"/>
                  </a:cubicBezTo>
                  <a:cubicBezTo>
                    <a:pt x="130" y="1191"/>
                    <a:pt x="140" y="1181"/>
                    <a:pt x="140" y="1169"/>
                  </a:cubicBezTo>
                  <a:cubicBezTo>
                    <a:pt x="140" y="978"/>
                    <a:pt x="140" y="978"/>
                    <a:pt x="140" y="978"/>
                  </a:cubicBezTo>
                  <a:cubicBezTo>
                    <a:pt x="140" y="965"/>
                    <a:pt x="130" y="956"/>
                    <a:pt x="118" y="956"/>
                  </a:cubicBezTo>
                  <a:close/>
                  <a:moveTo>
                    <a:pt x="436" y="1191"/>
                  </a:moveTo>
                  <a:cubicBezTo>
                    <a:pt x="371" y="1191"/>
                    <a:pt x="318" y="1138"/>
                    <a:pt x="318" y="1073"/>
                  </a:cubicBezTo>
                  <a:cubicBezTo>
                    <a:pt x="318" y="1008"/>
                    <a:pt x="371" y="956"/>
                    <a:pt x="436" y="956"/>
                  </a:cubicBezTo>
                  <a:cubicBezTo>
                    <a:pt x="501" y="956"/>
                    <a:pt x="553" y="1008"/>
                    <a:pt x="553" y="1073"/>
                  </a:cubicBezTo>
                  <a:cubicBezTo>
                    <a:pt x="553" y="1138"/>
                    <a:pt x="501" y="1191"/>
                    <a:pt x="436" y="1191"/>
                  </a:cubicBezTo>
                  <a:close/>
                  <a:moveTo>
                    <a:pt x="436" y="1000"/>
                  </a:moveTo>
                  <a:cubicBezTo>
                    <a:pt x="395" y="1000"/>
                    <a:pt x="362" y="1033"/>
                    <a:pt x="362" y="1073"/>
                  </a:cubicBezTo>
                  <a:cubicBezTo>
                    <a:pt x="362" y="1114"/>
                    <a:pt x="395" y="1147"/>
                    <a:pt x="436" y="1147"/>
                  </a:cubicBezTo>
                  <a:cubicBezTo>
                    <a:pt x="476" y="1147"/>
                    <a:pt x="509" y="1114"/>
                    <a:pt x="509" y="1073"/>
                  </a:cubicBezTo>
                  <a:cubicBezTo>
                    <a:pt x="509" y="1033"/>
                    <a:pt x="476" y="1000"/>
                    <a:pt x="436" y="1000"/>
                  </a:cubicBezTo>
                  <a:close/>
                  <a:moveTo>
                    <a:pt x="753" y="956"/>
                  </a:moveTo>
                  <a:cubicBezTo>
                    <a:pt x="741" y="956"/>
                    <a:pt x="731" y="965"/>
                    <a:pt x="731" y="978"/>
                  </a:cubicBezTo>
                  <a:cubicBezTo>
                    <a:pt x="731" y="1169"/>
                    <a:pt x="731" y="1169"/>
                    <a:pt x="731" y="1169"/>
                  </a:cubicBezTo>
                  <a:cubicBezTo>
                    <a:pt x="731" y="1181"/>
                    <a:pt x="741" y="1191"/>
                    <a:pt x="753" y="1191"/>
                  </a:cubicBezTo>
                  <a:cubicBezTo>
                    <a:pt x="765" y="1191"/>
                    <a:pt x="775" y="1181"/>
                    <a:pt x="775" y="1169"/>
                  </a:cubicBezTo>
                  <a:cubicBezTo>
                    <a:pt x="775" y="978"/>
                    <a:pt x="775" y="978"/>
                    <a:pt x="775" y="978"/>
                  </a:cubicBezTo>
                  <a:cubicBezTo>
                    <a:pt x="775" y="965"/>
                    <a:pt x="765" y="956"/>
                    <a:pt x="753" y="956"/>
                  </a:cubicBezTo>
                  <a:close/>
                  <a:moveTo>
                    <a:pt x="1071" y="956"/>
                  </a:moveTo>
                  <a:cubicBezTo>
                    <a:pt x="1059" y="956"/>
                    <a:pt x="1049" y="965"/>
                    <a:pt x="1049" y="978"/>
                  </a:cubicBezTo>
                  <a:cubicBezTo>
                    <a:pt x="1049" y="1169"/>
                    <a:pt x="1049" y="1169"/>
                    <a:pt x="1049" y="1169"/>
                  </a:cubicBezTo>
                  <a:cubicBezTo>
                    <a:pt x="1049" y="1181"/>
                    <a:pt x="1059" y="1191"/>
                    <a:pt x="1071" y="1191"/>
                  </a:cubicBezTo>
                  <a:cubicBezTo>
                    <a:pt x="1083" y="1191"/>
                    <a:pt x="1093" y="1181"/>
                    <a:pt x="1093" y="1169"/>
                  </a:cubicBezTo>
                  <a:cubicBezTo>
                    <a:pt x="1093" y="978"/>
                    <a:pt x="1093" y="978"/>
                    <a:pt x="1093" y="978"/>
                  </a:cubicBezTo>
                  <a:cubicBezTo>
                    <a:pt x="1093" y="965"/>
                    <a:pt x="1083" y="956"/>
                    <a:pt x="1071" y="956"/>
                  </a:cubicBezTo>
                  <a:close/>
                  <a:moveTo>
                    <a:pt x="1388" y="1191"/>
                  </a:moveTo>
                  <a:cubicBezTo>
                    <a:pt x="1323" y="1191"/>
                    <a:pt x="1271" y="1138"/>
                    <a:pt x="1271" y="1073"/>
                  </a:cubicBezTo>
                  <a:cubicBezTo>
                    <a:pt x="1271" y="1008"/>
                    <a:pt x="1323" y="956"/>
                    <a:pt x="1388" y="956"/>
                  </a:cubicBezTo>
                  <a:cubicBezTo>
                    <a:pt x="1453" y="956"/>
                    <a:pt x="1506" y="1008"/>
                    <a:pt x="1506" y="1073"/>
                  </a:cubicBezTo>
                  <a:cubicBezTo>
                    <a:pt x="1506" y="1138"/>
                    <a:pt x="1453" y="1191"/>
                    <a:pt x="1388" y="1191"/>
                  </a:cubicBezTo>
                  <a:close/>
                  <a:moveTo>
                    <a:pt x="1388" y="1000"/>
                  </a:moveTo>
                  <a:cubicBezTo>
                    <a:pt x="1348" y="1000"/>
                    <a:pt x="1315" y="1033"/>
                    <a:pt x="1315" y="1073"/>
                  </a:cubicBezTo>
                  <a:cubicBezTo>
                    <a:pt x="1315" y="1114"/>
                    <a:pt x="1348" y="1147"/>
                    <a:pt x="1388" y="1147"/>
                  </a:cubicBezTo>
                  <a:cubicBezTo>
                    <a:pt x="1429" y="1147"/>
                    <a:pt x="1462" y="1114"/>
                    <a:pt x="1462" y="1073"/>
                  </a:cubicBezTo>
                  <a:cubicBezTo>
                    <a:pt x="1462" y="1033"/>
                    <a:pt x="1429" y="1000"/>
                    <a:pt x="1388" y="1000"/>
                  </a:cubicBezTo>
                  <a:close/>
                  <a:moveTo>
                    <a:pt x="1706" y="956"/>
                  </a:moveTo>
                  <a:cubicBezTo>
                    <a:pt x="1694" y="956"/>
                    <a:pt x="1684" y="965"/>
                    <a:pt x="1684" y="978"/>
                  </a:cubicBezTo>
                  <a:cubicBezTo>
                    <a:pt x="1684" y="1169"/>
                    <a:pt x="1684" y="1169"/>
                    <a:pt x="1684" y="1169"/>
                  </a:cubicBezTo>
                  <a:cubicBezTo>
                    <a:pt x="1684" y="1181"/>
                    <a:pt x="1694" y="1191"/>
                    <a:pt x="1706" y="1191"/>
                  </a:cubicBezTo>
                  <a:cubicBezTo>
                    <a:pt x="1718" y="1191"/>
                    <a:pt x="1728" y="1181"/>
                    <a:pt x="1728" y="1169"/>
                  </a:cubicBezTo>
                  <a:cubicBezTo>
                    <a:pt x="1728" y="978"/>
                    <a:pt x="1728" y="978"/>
                    <a:pt x="1728" y="978"/>
                  </a:cubicBezTo>
                  <a:cubicBezTo>
                    <a:pt x="1728" y="965"/>
                    <a:pt x="1718" y="956"/>
                    <a:pt x="1706" y="956"/>
                  </a:cubicBezTo>
                  <a:close/>
                  <a:moveTo>
                    <a:pt x="118" y="1509"/>
                  </a:moveTo>
                  <a:cubicBezTo>
                    <a:pt x="53" y="1509"/>
                    <a:pt x="0" y="1457"/>
                    <a:pt x="0" y="1392"/>
                  </a:cubicBezTo>
                  <a:cubicBezTo>
                    <a:pt x="0" y="1327"/>
                    <a:pt x="53" y="1274"/>
                    <a:pt x="118" y="1274"/>
                  </a:cubicBezTo>
                  <a:cubicBezTo>
                    <a:pt x="183" y="1274"/>
                    <a:pt x="236" y="1327"/>
                    <a:pt x="236" y="1392"/>
                  </a:cubicBezTo>
                  <a:cubicBezTo>
                    <a:pt x="236" y="1457"/>
                    <a:pt x="183" y="1509"/>
                    <a:pt x="118" y="1509"/>
                  </a:cubicBezTo>
                  <a:close/>
                  <a:moveTo>
                    <a:pt x="118" y="1318"/>
                  </a:moveTo>
                  <a:cubicBezTo>
                    <a:pt x="77" y="1318"/>
                    <a:pt x="44" y="1351"/>
                    <a:pt x="44" y="1392"/>
                  </a:cubicBezTo>
                  <a:cubicBezTo>
                    <a:pt x="44" y="1432"/>
                    <a:pt x="77" y="1465"/>
                    <a:pt x="118" y="1465"/>
                  </a:cubicBezTo>
                  <a:cubicBezTo>
                    <a:pt x="159" y="1465"/>
                    <a:pt x="192" y="1432"/>
                    <a:pt x="192" y="1392"/>
                  </a:cubicBezTo>
                  <a:cubicBezTo>
                    <a:pt x="192" y="1351"/>
                    <a:pt x="159" y="1318"/>
                    <a:pt x="118" y="1318"/>
                  </a:cubicBezTo>
                  <a:close/>
                  <a:moveTo>
                    <a:pt x="436" y="1274"/>
                  </a:moveTo>
                  <a:cubicBezTo>
                    <a:pt x="424" y="1274"/>
                    <a:pt x="414" y="1284"/>
                    <a:pt x="414" y="1296"/>
                  </a:cubicBezTo>
                  <a:cubicBezTo>
                    <a:pt x="414" y="1487"/>
                    <a:pt x="414" y="1487"/>
                    <a:pt x="414" y="1487"/>
                  </a:cubicBezTo>
                  <a:cubicBezTo>
                    <a:pt x="414" y="1500"/>
                    <a:pt x="424" y="1509"/>
                    <a:pt x="436" y="1509"/>
                  </a:cubicBezTo>
                  <a:cubicBezTo>
                    <a:pt x="448" y="1509"/>
                    <a:pt x="458" y="1500"/>
                    <a:pt x="458" y="1487"/>
                  </a:cubicBezTo>
                  <a:cubicBezTo>
                    <a:pt x="458" y="1296"/>
                    <a:pt x="458" y="1296"/>
                    <a:pt x="458" y="1296"/>
                  </a:cubicBezTo>
                  <a:cubicBezTo>
                    <a:pt x="458" y="1284"/>
                    <a:pt x="448" y="1274"/>
                    <a:pt x="436" y="1274"/>
                  </a:cubicBezTo>
                  <a:close/>
                  <a:moveTo>
                    <a:pt x="753" y="1509"/>
                  </a:moveTo>
                  <a:cubicBezTo>
                    <a:pt x="688" y="1509"/>
                    <a:pt x="636" y="1457"/>
                    <a:pt x="636" y="1392"/>
                  </a:cubicBezTo>
                  <a:cubicBezTo>
                    <a:pt x="636" y="1327"/>
                    <a:pt x="688" y="1274"/>
                    <a:pt x="753" y="1274"/>
                  </a:cubicBezTo>
                  <a:cubicBezTo>
                    <a:pt x="818" y="1274"/>
                    <a:pt x="871" y="1327"/>
                    <a:pt x="871" y="1392"/>
                  </a:cubicBezTo>
                  <a:cubicBezTo>
                    <a:pt x="871" y="1457"/>
                    <a:pt x="818" y="1509"/>
                    <a:pt x="753" y="1509"/>
                  </a:cubicBezTo>
                  <a:close/>
                  <a:moveTo>
                    <a:pt x="753" y="1318"/>
                  </a:moveTo>
                  <a:cubicBezTo>
                    <a:pt x="713" y="1318"/>
                    <a:pt x="680" y="1351"/>
                    <a:pt x="680" y="1392"/>
                  </a:cubicBezTo>
                  <a:cubicBezTo>
                    <a:pt x="680" y="1432"/>
                    <a:pt x="713" y="1465"/>
                    <a:pt x="753" y="1465"/>
                  </a:cubicBezTo>
                  <a:cubicBezTo>
                    <a:pt x="794" y="1465"/>
                    <a:pt x="827" y="1432"/>
                    <a:pt x="827" y="1392"/>
                  </a:cubicBezTo>
                  <a:cubicBezTo>
                    <a:pt x="827" y="1351"/>
                    <a:pt x="794" y="1318"/>
                    <a:pt x="753" y="1318"/>
                  </a:cubicBezTo>
                  <a:close/>
                  <a:moveTo>
                    <a:pt x="1706" y="1509"/>
                  </a:moveTo>
                  <a:cubicBezTo>
                    <a:pt x="1641" y="1509"/>
                    <a:pt x="1588" y="1457"/>
                    <a:pt x="1588" y="1392"/>
                  </a:cubicBezTo>
                  <a:cubicBezTo>
                    <a:pt x="1588" y="1327"/>
                    <a:pt x="1641" y="1274"/>
                    <a:pt x="1706" y="1274"/>
                  </a:cubicBezTo>
                  <a:cubicBezTo>
                    <a:pt x="1771" y="1274"/>
                    <a:pt x="1824" y="1327"/>
                    <a:pt x="1824" y="1392"/>
                  </a:cubicBezTo>
                  <a:cubicBezTo>
                    <a:pt x="1824" y="1457"/>
                    <a:pt x="1771" y="1509"/>
                    <a:pt x="1706" y="1509"/>
                  </a:cubicBezTo>
                  <a:close/>
                  <a:moveTo>
                    <a:pt x="1706" y="1318"/>
                  </a:moveTo>
                  <a:cubicBezTo>
                    <a:pt x="1665" y="1318"/>
                    <a:pt x="1632" y="1351"/>
                    <a:pt x="1632" y="1392"/>
                  </a:cubicBezTo>
                  <a:cubicBezTo>
                    <a:pt x="1632" y="1432"/>
                    <a:pt x="1665" y="1465"/>
                    <a:pt x="1706" y="1465"/>
                  </a:cubicBezTo>
                  <a:cubicBezTo>
                    <a:pt x="1747" y="1465"/>
                    <a:pt x="1780" y="1432"/>
                    <a:pt x="1780" y="1392"/>
                  </a:cubicBezTo>
                  <a:cubicBezTo>
                    <a:pt x="1780" y="1351"/>
                    <a:pt x="1747" y="1318"/>
                    <a:pt x="1706" y="1318"/>
                  </a:cubicBezTo>
                  <a:close/>
                  <a:moveTo>
                    <a:pt x="118" y="1828"/>
                  </a:moveTo>
                  <a:cubicBezTo>
                    <a:pt x="53" y="1828"/>
                    <a:pt x="0" y="1775"/>
                    <a:pt x="0" y="1710"/>
                  </a:cubicBezTo>
                  <a:cubicBezTo>
                    <a:pt x="0" y="1645"/>
                    <a:pt x="53" y="1593"/>
                    <a:pt x="118" y="1593"/>
                  </a:cubicBezTo>
                  <a:cubicBezTo>
                    <a:pt x="183" y="1593"/>
                    <a:pt x="236" y="1645"/>
                    <a:pt x="236" y="1710"/>
                  </a:cubicBezTo>
                  <a:cubicBezTo>
                    <a:pt x="236" y="1775"/>
                    <a:pt x="183" y="1828"/>
                    <a:pt x="118" y="1828"/>
                  </a:cubicBezTo>
                  <a:close/>
                  <a:moveTo>
                    <a:pt x="118" y="1637"/>
                  </a:moveTo>
                  <a:cubicBezTo>
                    <a:pt x="77" y="1637"/>
                    <a:pt x="44" y="1670"/>
                    <a:pt x="44" y="1710"/>
                  </a:cubicBezTo>
                  <a:cubicBezTo>
                    <a:pt x="44" y="1751"/>
                    <a:pt x="77" y="1784"/>
                    <a:pt x="118" y="1784"/>
                  </a:cubicBezTo>
                  <a:cubicBezTo>
                    <a:pt x="159" y="1784"/>
                    <a:pt x="192" y="1751"/>
                    <a:pt x="192" y="1710"/>
                  </a:cubicBezTo>
                  <a:cubicBezTo>
                    <a:pt x="192" y="1670"/>
                    <a:pt x="159" y="1637"/>
                    <a:pt x="118" y="1637"/>
                  </a:cubicBezTo>
                  <a:close/>
                  <a:moveTo>
                    <a:pt x="436" y="1593"/>
                  </a:moveTo>
                  <a:cubicBezTo>
                    <a:pt x="424" y="1593"/>
                    <a:pt x="414" y="1603"/>
                    <a:pt x="414" y="1615"/>
                  </a:cubicBezTo>
                  <a:cubicBezTo>
                    <a:pt x="414" y="1806"/>
                    <a:pt x="414" y="1806"/>
                    <a:pt x="414" y="1806"/>
                  </a:cubicBezTo>
                  <a:cubicBezTo>
                    <a:pt x="414" y="1818"/>
                    <a:pt x="424" y="1828"/>
                    <a:pt x="436" y="1828"/>
                  </a:cubicBezTo>
                  <a:cubicBezTo>
                    <a:pt x="448" y="1828"/>
                    <a:pt x="458" y="1818"/>
                    <a:pt x="458" y="1806"/>
                  </a:cubicBezTo>
                  <a:cubicBezTo>
                    <a:pt x="458" y="1615"/>
                    <a:pt x="458" y="1615"/>
                    <a:pt x="458" y="1615"/>
                  </a:cubicBezTo>
                  <a:cubicBezTo>
                    <a:pt x="458" y="1603"/>
                    <a:pt x="448" y="1593"/>
                    <a:pt x="436" y="1593"/>
                  </a:cubicBezTo>
                  <a:close/>
                  <a:moveTo>
                    <a:pt x="753" y="1828"/>
                  </a:moveTo>
                  <a:cubicBezTo>
                    <a:pt x="688" y="1828"/>
                    <a:pt x="636" y="1775"/>
                    <a:pt x="636" y="1710"/>
                  </a:cubicBezTo>
                  <a:cubicBezTo>
                    <a:pt x="636" y="1645"/>
                    <a:pt x="688" y="1593"/>
                    <a:pt x="753" y="1593"/>
                  </a:cubicBezTo>
                  <a:cubicBezTo>
                    <a:pt x="818" y="1593"/>
                    <a:pt x="871" y="1645"/>
                    <a:pt x="871" y="1710"/>
                  </a:cubicBezTo>
                  <a:cubicBezTo>
                    <a:pt x="871" y="1775"/>
                    <a:pt x="818" y="1828"/>
                    <a:pt x="753" y="1828"/>
                  </a:cubicBezTo>
                  <a:close/>
                  <a:moveTo>
                    <a:pt x="753" y="1637"/>
                  </a:moveTo>
                  <a:cubicBezTo>
                    <a:pt x="713" y="1637"/>
                    <a:pt x="680" y="1670"/>
                    <a:pt x="680" y="1710"/>
                  </a:cubicBezTo>
                  <a:cubicBezTo>
                    <a:pt x="680" y="1751"/>
                    <a:pt x="713" y="1784"/>
                    <a:pt x="753" y="1784"/>
                  </a:cubicBezTo>
                  <a:cubicBezTo>
                    <a:pt x="794" y="1784"/>
                    <a:pt x="827" y="1751"/>
                    <a:pt x="827" y="1710"/>
                  </a:cubicBezTo>
                  <a:cubicBezTo>
                    <a:pt x="827" y="1670"/>
                    <a:pt x="794" y="1637"/>
                    <a:pt x="753" y="1637"/>
                  </a:cubicBezTo>
                  <a:close/>
                  <a:moveTo>
                    <a:pt x="1706" y="1828"/>
                  </a:moveTo>
                  <a:cubicBezTo>
                    <a:pt x="1641" y="1828"/>
                    <a:pt x="1588" y="1775"/>
                    <a:pt x="1588" y="1710"/>
                  </a:cubicBezTo>
                  <a:cubicBezTo>
                    <a:pt x="1588" y="1645"/>
                    <a:pt x="1641" y="1593"/>
                    <a:pt x="1706" y="1593"/>
                  </a:cubicBezTo>
                  <a:cubicBezTo>
                    <a:pt x="1771" y="1593"/>
                    <a:pt x="1824" y="1645"/>
                    <a:pt x="1824" y="1710"/>
                  </a:cubicBezTo>
                  <a:cubicBezTo>
                    <a:pt x="1824" y="1775"/>
                    <a:pt x="1771" y="1828"/>
                    <a:pt x="1706" y="1828"/>
                  </a:cubicBezTo>
                  <a:close/>
                  <a:moveTo>
                    <a:pt x="1706" y="1637"/>
                  </a:moveTo>
                  <a:cubicBezTo>
                    <a:pt x="1665" y="1637"/>
                    <a:pt x="1632" y="1670"/>
                    <a:pt x="1632" y="1710"/>
                  </a:cubicBezTo>
                  <a:cubicBezTo>
                    <a:pt x="1632" y="1751"/>
                    <a:pt x="1665" y="1784"/>
                    <a:pt x="1706" y="1784"/>
                  </a:cubicBezTo>
                  <a:cubicBezTo>
                    <a:pt x="1747" y="1784"/>
                    <a:pt x="1780" y="1751"/>
                    <a:pt x="1780" y="1710"/>
                  </a:cubicBezTo>
                  <a:cubicBezTo>
                    <a:pt x="1780" y="1670"/>
                    <a:pt x="1747" y="1637"/>
                    <a:pt x="1706" y="163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" name="Freeform 36">
              <a:extLst>
                <a:ext uri="{FF2B5EF4-FFF2-40B4-BE49-F238E27FC236}">
                  <a16:creationId xmlns:a16="http://schemas.microsoft.com/office/drawing/2014/main" xmlns="" id="{AA7A02C6-8B66-4350-AA28-E953D47C6F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2" y="990"/>
              <a:ext cx="2243" cy="2867"/>
            </a:xfrm>
            <a:custGeom>
              <a:avLst/>
              <a:gdLst>
                <a:gd name="T0" fmla="*/ 511 w 1197"/>
                <a:gd name="T1" fmla="*/ 220 h 1529"/>
                <a:gd name="T2" fmla="*/ 473 w 1197"/>
                <a:gd name="T3" fmla="*/ 132 h 1529"/>
                <a:gd name="T4" fmla="*/ 388 w 1197"/>
                <a:gd name="T5" fmla="*/ 18 h 1529"/>
                <a:gd name="T6" fmla="*/ 259 w 1197"/>
                <a:gd name="T7" fmla="*/ 31 h 1529"/>
                <a:gd name="T8" fmla="*/ 168 w 1197"/>
                <a:gd name="T9" fmla="*/ 17 h 1529"/>
                <a:gd name="T10" fmla="*/ 117 w 1197"/>
                <a:gd name="T11" fmla="*/ 94 h 1529"/>
                <a:gd name="T12" fmla="*/ 19 w 1197"/>
                <a:gd name="T13" fmla="*/ 179 h 1529"/>
                <a:gd name="T14" fmla="*/ 42 w 1197"/>
                <a:gd name="T15" fmla="*/ 320 h 1529"/>
                <a:gd name="T16" fmla="*/ 80 w 1197"/>
                <a:gd name="T17" fmla="*/ 409 h 1529"/>
                <a:gd name="T18" fmla="*/ 160 w 1197"/>
                <a:gd name="T19" fmla="*/ 524 h 1529"/>
                <a:gd name="T20" fmla="*/ 298 w 1197"/>
                <a:gd name="T21" fmla="*/ 513 h 1529"/>
                <a:gd name="T22" fmla="*/ 386 w 1197"/>
                <a:gd name="T23" fmla="*/ 528 h 1529"/>
                <a:gd name="T24" fmla="*/ 436 w 1197"/>
                <a:gd name="T25" fmla="*/ 453 h 1529"/>
                <a:gd name="T26" fmla="*/ 538 w 1197"/>
                <a:gd name="T27" fmla="*/ 359 h 1529"/>
                <a:gd name="T28" fmla="*/ 325 w 1197"/>
                <a:gd name="T29" fmla="*/ 384 h 1529"/>
                <a:gd name="T30" fmla="*/ 229 w 1197"/>
                <a:gd name="T31" fmla="*/ 161 h 1529"/>
                <a:gd name="T32" fmla="*/ 325 w 1197"/>
                <a:gd name="T33" fmla="*/ 384 h 1529"/>
                <a:gd name="T34" fmla="*/ 1154 w 1197"/>
                <a:gd name="T35" fmla="*/ 1204 h 1529"/>
                <a:gd name="T36" fmla="*/ 1116 w 1197"/>
                <a:gd name="T37" fmla="*/ 1116 h 1529"/>
                <a:gd name="T38" fmla="*/ 1031 w 1197"/>
                <a:gd name="T39" fmla="*/ 1003 h 1529"/>
                <a:gd name="T40" fmla="*/ 902 w 1197"/>
                <a:gd name="T41" fmla="*/ 1015 h 1529"/>
                <a:gd name="T42" fmla="*/ 811 w 1197"/>
                <a:gd name="T43" fmla="*/ 1001 h 1529"/>
                <a:gd name="T44" fmla="*/ 760 w 1197"/>
                <a:gd name="T45" fmla="*/ 1078 h 1529"/>
                <a:gd name="T46" fmla="*/ 662 w 1197"/>
                <a:gd name="T47" fmla="*/ 1164 h 1529"/>
                <a:gd name="T48" fmla="*/ 685 w 1197"/>
                <a:gd name="T49" fmla="*/ 1305 h 1529"/>
                <a:gd name="T50" fmla="*/ 723 w 1197"/>
                <a:gd name="T51" fmla="*/ 1393 h 1529"/>
                <a:gd name="T52" fmla="*/ 803 w 1197"/>
                <a:gd name="T53" fmla="*/ 1508 h 1529"/>
                <a:gd name="T54" fmla="*/ 941 w 1197"/>
                <a:gd name="T55" fmla="*/ 1498 h 1529"/>
                <a:gd name="T56" fmla="*/ 1029 w 1197"/>
                <a:gd name="T57" fmla="*/ 1512 h 1529"/>
                <a:gd name="T58" fmla="*/ 1079 w 1197"/>
                <a:gd name="T59" fmla="*/ 1438 h 1529"/>
                <a:gd name="T60" fmla="*/ 1181 w 1197"/>
                <a:gd name="T61" fmla="*/ 1343 h 1529"/>
                <a:gd name="T62" fmla="*/ 968 w 1197"/>
                <a:gd name="T63" fmla="*/ 1368 h 1529"/>
                <a:gd name="T64" fmla="*/ 872 w 1197"/>
                <a:gd name="T65" fmla="*/ 1145 h 1529"/>
                <a:gd name="T66" fmla="*/ 968 w 1197"/>
                <a:gd name="T67" fmla="*/ 1368 h 1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97" h="1529">
                  <a:moveTo>
                    <a:pt x="550" y="244"/>
                  </a:moveTo>
                  <a:cubicBezTo>
                    <a:pt x="511" y="220"/>
                    <a:pt x="511" y="220"/>
                    <a:pt x="511" y="220"/>
                  </a:cubicBezTo>
                  <a:cubicBezTo>
                    <a:pt x="508" y="205"/>
                    <a:pt x="503" y="191"/>
                    <a:pt x="497" y="176"/>
                  </a:cubicBezTo>
                  <a:cubicBezTo>
                    <a:pt x="491" y="161"/>
                    <a:pt x="482" y="146"/>
                    <a:pt x="473" y="132"/>
                  </a:cubicBezTo>
                  <a:cubicBezTo>
                    <a:pt x="482" y="87"/>
                    <a:pt x="482" y="87"/>
                    <a:pt x="482" y="87"/>
                  </a:cubicBezTo>
                  <a:cubicBezTo>
                    <a:pt x="456" y="58"/>
                    <a:pt x="423" y="34"/>
                    <a:pt x="388" y="18"/>
                  </a:cubicBezTo>
                  <a:cubicBezTo>
                    <a:pt x="348" y="41"/>
                    <a:pt x="348" y="41"/>
                    <a:pt x="348" y="41"/>
                  </a:cubicBezTo>
                  <a:cubicBezTo>
                    <a:pt x="319" y="32"/>
                    <a:pt x="289" y="29"/>
                    <a:pt x="259" y="31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06" y="4"/>
                    <a:pt x="187" y="9"/>
                    <a:pt x="168" y="17"/>
                  </a:cubicBezTo>
                  <a:cubicBezTo>
                    <a:pt x="150" y="25"/>
                    <a:pt x="132" y="35"/>
                    <a:pt x="117" y="46"/>
                  </a:cubicBezTo>
                  <a:cubicBezTo>
                    <a:pt x="117" y="94"/>
                    <a:pt x="117" y="94"/>
                    <a:pt x="117" y="94"/>
                  </a:cubicBezTo>
                  <a:cubicBezTo>
                    <a:pt x="94" y="115"/>
                    <a:pt x="75" y="138"/>
                    <a:pt x="62" y="165"/>
                  </a:cubicBezTo>
                  <a:cubicBezTo>
                    <a:pt x="19" y="179"/>
                    <a:pt x="19" y="179"/>
                    <a:pt x="19" y="179"/>
                  </a:cubicBezTo>
                  <a:cubicBezTo>
                    <a:pt x="5" y="216"/>
                    <a:pt x="0" y="256"/>
                    <a:pt x="3" y="297"/>
                  </a:cubicBezTo>
                  <a:cubicBezTo>
                    <a:pt x="42" y="320"/>
                    <a:pt x="42" y="320"/>
                    <a:pt x="42" y="320"/>
                  </a:cubicBezTo>
                  <a:cubicBezTo>
                    <a:pt x="45" y="336"/>
                    <a:pt x="50" y="352"/>
                    <a:pt x="58" y="368"/>
                  </a:cubicBezTo>
                  <a:cubicBezTo>
                    <a:pt x="64" y="382"/>
                    <a:pt x="71" y="396"/>
                    <a:pt x="80" y="409"/>
                  </a:cubicBezTo>
                  <a:cubicBezTo>
                    <a:pt x="69" y="453"/>
                    <a:pt x="69" y="453"/>
                    <a:pt x="69" y="453"/>
                  </a:cubicBezTo>
                  <a:cubicBezTo>
                    <a:pt x="95" y="484"/>
                    <a:pt x="126" y="507"/>
                    <a:pt x="160" y="524"/>
                  </a:cubicBezTo>
                  <a:cubicBezTo>
                    <a:pt x="199" y="501"/>
                    <a:pt x="199" y="501"/>
                    <a:pt x="199" y="501"/>
                  </a:cubicBezTo>
                  <a:cubicBezTo>
                    <a:pt x="231" y="512"/>
                    <a:pt x="264" y="516"/>
                    <a:pt x="298" y="513"/>
                  </a:cubicBezTo>
                  <a:cubicBezTo>
                    <a:pt x="333" y="545"/>
                    <a:pt x="333" y="545"/>
                    <a:pt x="333" y="545"/>
                  </a:cubicBezTo>
                  <a:cubicBezTo>
                    <a:pt x="350" y="540"/>
                    <a:pt x="368" y="535"/>
                    <a:pt x="386" y="528"/>
                  </a:cubicBezTo>
                  <a:cubicBezTo>
                    <a:pt x="403" y="520"/>
                    <a:pt x="420" y="510"/>
                    <a:pt x="436" y="499"/>
                  </a:cubicBezTo>
                  <a:cubicBezTo>
                    <a:pt x="436" y="453"/>
                    <a:pt x="436" y="453"/>
                    <a:pt x="436" y="453"/>
                  </a:cubicBezTo>
                  <a:cubicBezTo>
                    <a:pt x="461" y="430"/>
                    <a:pt x="481" y="402"/>
                    <a:pt x="495" y="372"/>
                  </a:cubicBezTo>
                  <a:cubicBezTo>
                    <a:pt x="538" y="359"/>
                    <a:pt x="538" y="359"/>
                    <a:pt x="538" y="359"/>
                  </a:cubicBezTo>
                  <a:cubicBezTo>
                    <a:pt x="550" y="322"/>
                    <a:pt x="554" y="283"/>
                    <a:pt x="550" y="244"/>
                  </a:cubicBezTo>
                  <a:close/>
                  <a:moveTo>
                    <a:pt x="325" y="384"/>
                  </a:moveTo>
                  <a:cubicBezTo>
                    <a:pt x="264" y="411"/>
                    <a:pt x="193" y="382"/>
                    <a:pt x="167" y="320"/>
                  </a:cubicBezTo>
                  <a:cubicBezTo>
                    <a:pt x="140" y="258"/>
                    <a:pt x="168" y="187"/>
                    <a:pt x="229" y="161"/>
                  </a:cubicBezTo>
                  <a:cubicBezTo>
                    <a:pt x="290" y="134"/>
                    <a:pt x="361" y="163"/>
                    <a:pt x="387" y="224"/>
                  </a:cubicBezTo>
                  <a:cubicBezTo>
                    <a:pt x="414" y="285"/>
                    <a:pt x="386" y="358"/>
                    <a:pt x="325" y="384"/>
                  </a:cubicBezTo>
                  <a:close/>
                  <a:moveTo>
                    <a:pt x="1193" y="1228"/>
                  </a:moveTo>
                  <a:cubicBezTo>
                    <a:pt x="1154" y="1204"/>
                    <a:pt x="1154" y="1204"/>
                    <a:pt x="1154" y="1204"/>
                  </a:cubicBezTo>
                  <a:cubicBezTo>
                    <a:pt x="1151" y="1190"/>
                    <a:pt x="1146" y="1175"/>
                    <a:pt x="1140" y="1160"/>
                  </a:cubicBezTo>
                  <a:cubicBezTo>
                    <a:pt x="1134" y="1145"/>
                    <a:pt x="1125" y="1130"/>
                    <a:pt x="1116" y="1116"/>
                  </a:cubicBezTo>
                  <a:cubicBezTo>
                    <a:pt x="1125" y="1072"/>
                    <a:pt x="1125" y="1072"/>
                    <a:pt x="1125" y="1072"/>
                  </a:cubicBezTo>
                  <a:cubicBezTo>
                    <a:pt x="1099" y="1042"/>
                    <a:pt x="1066" y="1018"/>
                    <a:pt x="1031" y="1003"/>
                  </a:cubicBezTo>
                  <a:cubicBezTo>
                    <a:pt x="991" y="1026"/>
                    <a:pt x="991" y="1026"/>
                    <a:pt x="991" y="1026"/>
                  </a:cubicBezTo>
                  <a:cubicBezTo>
                    <a:pt x="962" y="1016"/>
                    <a:pt x="932" y="1013"/>
                    <a:pt x="902" y="1015"/>
                  </a:cubicBezTo>
                  <a:cubicBezTo>
                    <a:pt x="868" y="984"/>
                    <a:pt x="868" y="984"/>
                    <a:pt x="868" y="984"/>
                  </a:cubicBezTo>
                  <a:cubicBezTo>
                    <a:pt x="849" y="988"/>
                    <a:pt x="830" y="993"/>
                    <a:pt x="811" y="1001"/>
                  </a:cubicBezTo>
                  <a:cubicBezTo>
                    <a:pt x="793" y="1010"/>
                    <a:pt x="775" y="1019"/>
                    <a:pt x="760" y="1031"/>
                  </a:cubicBezTo>
                  <a:cubicBezTo>
                    <a:pt x="760" y="1078"/>
                    <a:pt x="760" y="1078"/>
                    <a:pt x="760" y="1078"/>
                  </a:cubicBezTo>
                  <a:cubicBezTo>
                    <a:pt x="737" y="1099"/>
                    <a:pt x="718" y="1123"/>
                    <a:pt x="705" y="1150"/>
                  </a:cubicBezTo>
                  <a:cubicBezTo>
                    <a:pt x="662" y="1164"/>
                    <a:pt x="662" y="1164"/>
                    <a:pt x="662" y="1164"/>
                  </a:cubicBezTo>
                  <a:cubicBezTo>
                    <a:pt x="648" y="1201"/>
                    <a:pt x="643" y="1240"/>
                    <a:pt x="646" y="1282"/>
                  </a:cubicBezTo>
                  <a:cubicBezTo>
                    <a:pt x="685" y="1305"/>
                    <a:pt x="685" y="1305"/>
                    <a:pt x="685" y="1305"/>
                  </a:cubicBezTo>
                  <a:cubicBezTo>
                    <a:pt x="688" y="1320"/>
                    <a:pt x="693" y="1337"/>
                    <a:pt x="701" y="1352"/>
                  </a:cubicBezTo>
                  <a:cubicBezTo>
                    <a:pt x="707" y="1367"/>
                    <a:pt x="714" y="1381"/>
                    <a:pt x="723" y="1393"/>
                  </a:cubicBezTo>
                  <a:cubicBezTo>
                    <a:pt x="712" y="1438"/>
                    <a:pt x="712" y="1438"/>
                    <a:pt x="712" y="1438"/>
                  </a:cubicBezTo>
                  <a:cubicBezTo>
                    <a:pt x="738" y="1468"/>
                    <a:pt x="769" y="1491"/>
                    <a:pt x="803" y="1508"/>
                  </a:cubicBezTo>
                  <a:cubicBezTo>
                    <a:pt x="842" y="1485"/>
                    <a:pt x="842" y="1485"/>
                    <a:pt x="842" y="1485"/>
                  </a:cubicBezTo>
                  <a:cubicBezTo>
                    <a:pt x="874" y="1496"/>
                    <a:pt x="907" y="1500"/>
                    <a:pt x="941" y="1498"/>
                  </a:cubicBezTo>
                  <a:cubicBezTo>
                    <a:pt x="976" y="1529"/>
                    <a:pt x="976" y="1529"/>
                    <a:pt x="976" y="1529"/>
                  </a:cubicBezTo>
                  <a:cubicBezTo>
                    <a:pt x="993" y="1525"/>
                    <a:pt x="1011" y="1519"/>
                    <a:pt x="1029" y="1512"/>
                  </a:cubicBezTo>
                  <a:cubicBezTo>
                    <a:pt x="1046" y="1504"/>
                    <a:pt x="1063" y="1494"/>
                    <a:pt x="1079" y="1484"/>
                  </a:cubicBezTo>
                  <a:cubicBezTo>
                    <a:pt x="1079" y="1438"/>
                    <a:pt x="1079" y="1438"/>
                    <a:pt x="1079" y="1438"/>
                  </a:cubicBezTo>
                  <a:cubicBezTo>
                    <a:pt x="1104" y="1415"/>
                    <a:pt x="1124" y="1387"/>
                    <a:pt x="1138" y="1356"/>
                  </a:cubicBezTo>
                  <a:cubicBezTo>
                    <a:pt x="1181" y="1343"/>
                    <a:pt x="1181" y="1343"/>
                    <a:pt x="1181" y="1343"/>
                  </a:cubicBezTo>
                  <a:cubicBezTo>
                    <a:pt x="1193" y="1307"/>
                    <a:pt x="1197" y="1267"/>
                    <a:pt x="1193" y="1228"/>
                  </a:cubicBezTo>
                  <a:close/>
                  <a:moveTo>
                    <a:pt x="968" y="1368"/>
                  </a:moveTo>
                  <a:cubicBezTo>
                    <a:pt x="907" y="1395"/>
                    <a:pt x="836" y="1366"/>
                    <a:pt x="810" y="1305"/>
                  </a:cubicBezTo>
                  <a:cubicBezTo>
                    <a:pt x="783" y="1243"/>
                    <a:pt x="811" y="1171"/>
                    <a:pt x="872" y="1145"/>
                  </a:cubicBezTo>
                  <a:cubicBezTo>
                    <a:pt x="933" y="1118"/>
                    <a:pt x="1004" y="1147"/>
                    <a:pt x="1030" y="1208"/>
                  </a:cubicBezTo>
                  <a:cubicBezTo>
                    <a:pt x="1057" y="1270"/>
                    <a:pt x="1029" y="1342"/>
                    <a:pt x="968" y="136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grpSp>
        <p:nvGrpSpPr>
          <p:cNvPr id="16" name="bcgIcons_Digital">
            <a:extLst>
              <a:ext uri="{FF2B5EF4-FFF2-40B4-BE49-F238E27FC236}">
                <a16:creationId xmlns:a16="http://schemas.microsoft.com/office/drawing/2014/main" xmlns="" id="{FD0C0E1A-6ECA-4776-BA8D-65825C56500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55558" y="2203310"/>
            <a:ext cx="431777" cy="432310"/>
            <a:chOff x="1682" y="0"/>
            <a:chExt cx="4316" cy="4320"/>
          </a:xfrm>
        </p:grpSpPr>
        <p:sp>
          <p:nvSpPr>
            <p:cNvPr id="17" name="AutoShape 8">
              <a:extLst>
                <a:ext uri="{FF2B5EF4-FFF2-40B4-BE49-F238E27FC236}">
                  <a16:creationId xmlns:a16="http://schemas.microsoft.com/office/drawing/2014/main" xmlns="" id="{35BF03EB-C695-47AD-B08A-BDC24645626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8" name="Freeform 10">
              <a:extLst>
                <a:ext uri="{FF2B5EF4-FFF2-40B4-BE49-F238E27FC236}">
                  <a16:creationId xmlns:a16="http://schemas.microsoft.com/office/drawing/2014/main" xmlns="" id="{AB2EC424-0EAB-414A-B95D-D10A4ABF51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27" y="919"/>
              <a:ext cx="2797" cy="2512"/>
            </a:xfrm>
            <a:custGeom>
              <a:avLst/>
              <a:gdLst>
                <a:gd name="T0" fmla="*/ 263 w 1493"/>
                <a:gd name="T1" fmla="*/ 1282 h 1340"/>
                <a:gd name="T2" fmla="*/ 379 w 1493"/>
                <a:gd name="T3" fmla="*/ 1282 h 1340"/>
                <a:gd name="T4" fmla="*/ 469 w 1493"/>
                <a:gd name="T5" fmla="*/ 22 h 1340"/>
                <a:gd name="T6" fmla="*/ 195 w 1493"/>
                <a:gd name="T7" fmla="*/ 0 h 1340"/>
                <a:gd name="T8" fmla="*/ 195 w 1493"/>
                <a:gd name="T9" fmla="*/ 44 h 1340"/>
                <a:gd name="T10" fmla="*/ 469 w 1493"/>
                <a:gd name="T11" fmla="*/ 22 h 1340"/>
                <a:gd name="T12" fmla="*/ 390 w 1493"/>
                <a:gd name="T13" fmla="*/ 564 h 1340"/>
                <a:gd name="T14" fmla="*/ 368 w 1493"/>
                <a:gd name="T15" fmla="*/ 701 h 1340"/>
                <a:gd name="T16" fmla="*/ 504 w 1493"/>
                <a:gd name="T17" fmla="*/ 723 h 1340"/>
                <a:gd name="T18" fmla="*/ 526 w 1493"/>
                <a:gd name="T19" fmla="*/ 586 h 1340"/>
                <a:gd name="T20" fmla="*/ 758 w 1493"/>
                <a:gd name="T21" fmla="*/ 347 h 1340"/>
                <a:gd name="T22" fmla="*/ 578 w 1493"/>
                <a:gd name="T23" fmla="*/ 369 h 1340"/>
                <a:gd name="T24" fmla="*/ 600 w 1493"/>
                <a:gd name="T25" fmla="*/ 549 h 1340"/>
                <a:gd name="T26" fmla="*/ 780 w 1493"/>
                <a:gd name="T27" fmla="*/ 527 h 1340"/>
                <a:gd name="T28" fmla="*/ 758 w 1493"/>
                <a:gd name="T29" fmla="*/ 347 h 1340"/>
                <a:gd name="T30" fmla="*/ 570 w 1493"/>
                <a:gd name="T31" fmla="*/ 586 h 1340"/>
                <a:gd name="T32" fmla="*/ 570 w 1493"/>
                <a:gd name="T33" fmla="*/ 701 h 1340"/>
                <a:gd name="T34" fmla="*/ 390 w 1493"/>
                <a:gd name="T35" fmla="*/ 767 h 1340"/>
                <a:gd name="T36" fmla="*/ 324 w 1493"/>
                <a:gd name="T37" fmla="*/ 586 h 1340"/>
                <a:gd name="T38" fmla="*/ 504 w 1493"/>
                <a:gd name="T39" fmla="*/ 520 h 1340"/>
                <a:gd name="T40" fmla="*/ 534 w 1493"/>
                <a:gd name="T41" fmla="*/ 527 h 1340"/>
                <a:gd name="T42" fmla="*/ 600 w 1493"/>
                <a:gd name="T43" fmla="*/ 303 h 1340"/>
                <a:gd name="T44" fmla="*/ 638 w 1493"/>
                <a:gd name="T45" fmla="*/ 115 h 1340"/>
                <a:gd name="T46" fmla="*/ 10 w 1493"/>
                <a:gd name="T47" fmla="*/ 105 h 1340"/>
                <a:gd name="T48" fmla="*/ 0 w 1493"/>
                <a:gd name="T49" fmla="*/ 1092 h 1340"/>
                <a:gd name="T50" fmla="*/ 628 w 1493"/>
                <a:gd name="T51" fmla="*/ 1102 h 1340"/>
                <a:gd name="T52" fmla="*/ 638 w 1493"/>
                <a:gd name="T53" fmla="*/ 593 h 1340"/>
                <a:gd name="T54" fmla="*/ 1095 w 1493"/>
                <a:gd name="T55" fmla="*/ 105 h 1340"/>
                <a:gd name="T56" fmla="*/ 874 w 1493"/>
                <a:gd name="T57" fmla="*/ 127 h 1340"/>
                <a:gd name="T58" fmla="*/ 896 w 1493"/>
                <a:gd name="T59" fmla="*/ 348 h 1340"/>
                <a:gd name="T60" fmla="*/ 1117 w 1493"/>
                <a:gd name="T61" fmla="*/ 326 h 1340"/>
                <a:gd name="T62" fmla="*/ 1095 w 1493"/>
                <a:gd name="T63" fmla="*/ 105 h 1340"/>
                <a:gd name="T64" fmla="*/ 1493 w 1493"/>
                <a:gd name="T65" fmla="*/ 222 h 1340"/>
                <a:gd name="T66" fmla="*/ 1197 w 1493"/>
                <a:gd name="T67" fmla="*/ 200 h 1340"/>
                <a:gd name="T68" fmla="*/ 1175 w 1493"/>
                <a:gd name="T69" fmla="*/ 496 h 1340"/>
                <a:gd name="T70" fmla="*/ 1471 w 1493"/>
                <a:gd name="T71" fmla="*/ 518 h 1340"/>
                <a:gd name="T72" fmla="*/ 1117 w 1493"/>
                <a:gd name="T73" fmla="*/ 667 h 1340"/>
                <a:gd name="T74" fmla="*/ 1095 w 1493"/>
                <a:gd name="T75" fmla="*/ 409 h 1340"/>
                <a:gd name="T76" fmla="*/ 838 w 1493"/>
                <a:gd name="T77" fmla="*/ 431 h 1340"/>
                <a:gd name="T78" fmla="*/ 860 w 1493"/>
                <a:gd name="T79" fmla="*/ 689 h 1340"/>
                <a:gd name="T80" fmla="*/ 1117 w 1493"/>
                <a:gd name="T81" fmla="*/ 667 h 1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93" h="1340">
                  <a:moveTo>
                    <a:pt x="321" y="1340"/>
                  </a:moveTo>
                  <a:cubicBezTo>
                    <a:pt x="289" y="1340"/>
                    <a:pt x="263" y="1314"/>
                    <a:pt x="263" y="1282"/>
                  </a:cubicBezTo>
                  <a:cubicBezTo>
                    <a:pt x="263" y="1250"/>
                    <a:pt x="289" y="1224"/>
                    <a:pt x="321" y="1224"/>
                  </a:cubicBezTo>
                  <a:cubicBezTo>
                    <a:pt x="353" y="1224"/>
                    <a:pt x="379" y="1250"/>
                    <a:pt x="379" y="1282"/>
                  </a:cubicBezTo>
                  <a:cubicBezTo>
                    <a:pt x="379" y="1314"/>
                    <a:pt x="353" y="1340"/>
                    <a:pt x="321" y="1340"/>
                  </a:cubicBezTo>
                  <a:close/>
                  <a:moveTo>
                    <a:pt x="469" y="22"/>
                  </a:moveTo>
                  <a:cubicBezTo>
                    <a:pt x="469" y="10"/>
                    <a:pt x="459" y="0"/>
                    <a:pt x="447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183" y="0"/>
                    <a:pt x="173" y="10"/>
                    <a:pt x="173" y="22"/>
                  </a:cubicBezTo>
                  <a:cubicBezTo>
                    <a:pt x="173" y="34"/>
                    <a:pt x="183" y="44"/>
                    <a:pt x="195" y="44"/>
                  </a:cubicBezTo>
                  <a:cubicBezTo>
                    <a:pt x="447" y="44"/>
                    <a:pt x="447" y="44"/>
                    <a:pt x="447" y="44"/>
                  </a:cubicBezTo>
                  <a:cubicBezTo>
                    <a:pt x="459" y="44"/>
                    <a:pt x="469" y="34"/>
                    <a:pt x="469" y="22"/>
                  </a:cubicBezTo>
                  <a:close/>
                  <a:moveTo>
                    <a:pt x="504" y="564"/>
                  </a:moveTo>
                  <a:cubicBezTo>
                    <a:pt x="390" y="564"/>
                    <a:pt x="390" y="564"/>
                    <a:pt x="390" y="564"/>
                  </a:cubicBezTo>
                  <a:cubicBezTo>
                    <a:pt x="377" y="564"/>
                    <a:pt x="368" y="574"/>
                    <a:pt x="368" y="586"/>
                  </a:cubicBezTo>
                  <a:cubicBezTo>
                    <a:pt x="368" y="701"/>
                    <a:pt x="368" y="701"/>
                    <a:pt x="368" y="701"/>
                  </a:cubicBezTo>
                  <a:cubicBezTo>
                    <a:pt x="368" y="713"/>
                    <a:pt x="377" y="723"/>
                    <a:pt x="390" y="723"/>
                  </a:cubicBezTo>
                  <a:cubicBezTo>
                    <a:pt x="504" y="723"/>
                    <a:pt x="504" y="723"/>
                    <a:pt x="504" y="723"/>
                  </a:cubicBezTo>
                  <a:cubicBezTo>
                    <a:pt x="516" y="723"/>
                    <a:pt x="526" y="713"/>
                    <a:pt x="526" y="701"/>
                  </a:cubicBezTo>
                  <a:cubicBezTo>
                    <a:pt x="526" y="586"/>
                    <a:pt x="526" y="586"/>
                    <a:pt x="526" y="586"/>
                  </a:cubicBezTo>
                  <a:cubicBezTo>
                    <a:pt x="526" y="574"/>
                    <a:pt x="516" y="564"/>
                    <a:pt x="504" y="564"/>
                  </a:cubicBezTo>
                  <a:moveTo>
                    <a:pt x="758" y="347"/>
                  </a:moveTo>
                  <a:cubicBezTo>
                    <a:pt x="600" y="347"/>
                    <a:pt x="600" y="347"/>
                    <a:pt x="600" y="347"/>
                  </a:cubicBezTo>
                  <a:cubicBezTo>
                    <a:pt x="588" y="347"/>
                    <a:pt x="578" y="357"/>
                    <a:pt x="578" y="369"/>
                  </a:cubicBezTo>
                  <a:cubicBezTo>
                    <a:pt x="578" y="527"/>
                    <a:pt x="578" y="527"/>
                    <a:pt x="578" y="527"/>
                  </a:cubicBezTo>
                  <a:cubicBezTo>
                    <a:pt x="578" y="539"/>
                    <a:pt x="588" y="549"/>
                    <a:pt x="600" y="549"/>
                  </a:cubicBezTo>
                  <a:cubicBezTo>
                    <a:pt x="758" y="549"/>
                    <a:pt x="758" y="549"/>
                    <a:pt x="758" y="549"/>
                  </a:cubicBezTo>
                  <a:cubicBezTo>
                    <a:pt x="770" y="549"/>
                    <a:pt x="780" y="539"/>
                    <a:pt x="780" y="527"/>
                  </a:cubicBezTo>
                  <a:cubicBezTo>
                    <a:pt x="780" y="369"/>
                    <a:pt x="780" y="369"/>
                    <a:pt x="780" y="369"/>
                  </a:cubicBezTo>
                  <a:cubicBezTo>
                    <a:pt x="780" y="357"/>
                    <a:pt x="770" y="347"/>
                    <a:pt x="758" y="347"/>
                  </a:cubicBezTo>
                  <a:moveTo>
                    <a:pt x="600" y="593"/>
                  </a:moveTo>
                  <a:cubicBezTo>
                    <a:pt x="589" y="593"/>
                    <a:pt x="579" y="590"/>
                    <a:pt x="570" y="586"/>
                  </a:cubicBezTo>
                  <a:cubicBezTo>
                    <a:pt x="570" y="586"/>
                    <a:pt x="570" y="586"/>
                    <a:pt x="570" y="586"/>
                  </a:cubicBezTo>
                  <a:cubicBezTo>
                    <a:pt x="570" y="701"/>
                    <a:pt x="570" y="701"/>
                    <a:pt x="570" y="701"/>
                  </a:cubicBezTo>
                  <a:cubicBezTo>
                    <a:pt x="570" y="737"/>
                    <a:pt x="541" y="767"/>
                    <a:pt x="504" y="767"/>
                  </a:cubicBezTo>
                  <a:cubicBezTo>
                    <a:pt x="390" y="767"/>
                    <a:pt x="390" y="767"/>
                    <a:pt x="390" y="767"/>
                  </a:cubicBezTo>
                  <a:cubicBezTo>
                    <a:pt x="353" y="767"/>
                    <a:pt x="324" y="737"/>
                    <a:pt x="324" y="701"/>
                  </a:cubicBezTo>
                  <a:cubicBezTo>
                    <a:pt x="324" y="586"/>
                    <a:pt x="324" y="586"/>
                    <a:pt x="324" y="586"/>
                  </a:cubicBezTo>
                  <a:cubicBezTo>
                    <a:pt x="324" y="550"/>
                    <a:pt x="353" y="520"/>
                    <a:pt x="390" y="520"/>
                  </a:cubicBezTo>
                  <a:cubicBezTo>
                    <a:pt x="504" y="520"/>
                    <a:pt x="504" y="520"/>
                    <a:pt x="504" y="520"/>
                  </a:cubicBezTo>
                  <a:cubicBezTo>
                    <a:pt x="515" y="520"/>
                    <a:pt x="525" y="523"/>
                    <a:pt x="534" y="528"/>
                  </a:cubicBezTo>
                  <a:cubicBezTo>
                    <a:pt x="534" y="527"/>
                    <a:pt x="534" y="527"/>
                    <a:pt x="534" y="527"/>
                  </a:cubicBezTo>
                  <a:cubicBezTo>
                    <a:pt x="534" y="369"/>
                    <a:pt x="534" y="369"/>
                    <a:pt x="534" y="369"/>
                  </a:cubicBezTo>
                  <a:cubicBezTo>
                    <a:pt x="534" y="333"/>
                    <a:pt x="564" y="303"/>
                    <a:pt x="600" y="303"/>
                  </a:cubicBezTo>
                  <a:cubicBezTo>
                    <a:pt x="638" y="303"/>
                    <a:pt x="638" y="303"/>
                    <a:pt x="638" y="303"/>
                  </a:cubicBezTo>
                  <a:cubicBezTo>
                    <a:pt x="638" y="115"/>
                    <a:pt x="638" y="115"/>
                    <a:pt x="638" y="115"/>
                  </a:cubicBezTo>
                  <a:cubicBezTo>
                    <a:pt x="638" y="110"/>
                    <a:pt x="634" y="105"/>
                    <a:pt x="628" y="105"/>
                  </a:cubicBezTo>
                  <a:cubicBezTo>
                    <a:pt x="10" y="105"/>
                    <a:pt x="10" y="105"/>
                    <a:pt x="10" y="105"/>
                  </a:cubicBezTo>
                  <a:cubicBezTo>
                    <a:pt x="4" y="105"/>
                    <a:pt x="0" y="110"/>
                    <a:pt x="0" y="115"/>
                  </a:cubicBezTo>
                  <a:cubicBezTo>
                    <a:pt x="0" y="1092"/>
                    <a:pt x="0" y="1092"/>
                    <a:pt x="0" y="1092"/>
                  </a:cubicBezTo>
                  <a:cubicBezTo>
                    <a:pt x="0" y="1098"/>
                    <a:pt x="4" y="1102"/>
                    <a:pt x="10" y="1102"/>
                  </a:cubicBezTo>
                  <a:cubicBezTo>
                    <a:pt x="628" y="1102"/>
                    <a:pt x="628" y="1102"/>
                    <a:pt x="628" y="1102"/>
                  </a:cubicBezTo>
                  <a:cubicBezTo>
                    <a:pt x="634" y="1102"/>
                    <a:pt x="638" y="1098"/>
                    <a:pt x="638" y="1092"/>
                  </a:cubicBezTo>
                  <a:cubicBezTo>
                    <a:pt x="638" y="593"/>
                    <a:pt x="638" y="593"/>
                    <a:pt x="638" y="593"/>
                  </a:cubicBezTo>
                  <a:lnTo>
                    <a:pt x="600" y="593"/>
                  </a:lnTo>
                  <a:close/>
                  <a:moveTo>
                    <a:pt x="1095" y="105"/>
                  </a:moveTo>
                  <a:cubicBezTo>
                    <a:pt x="896" y="105"/>
                    <a:pt x="896" y="105"/>
                    <a:pt x="896" y="105"/>
                  </a:cubicBezTo>
                  <a:cubicBezTo>
                    <a:pt x="884" y="105"/>
                    <a:pt x="874" y="115"/>
                    <a:pt x="874" y="127"/>
                  </a:cubicBezTo>
                  <a:cubicBezTo>
                    <a:pt x="874" y="326"/>
                    <a:pt x="874" y="326"/>
                    <a:pt x="874" y="326"/>
                  </a:cubicBezTo>
                  <a:cubicBezTo>
                    <a:pt x="874" y="338"/>
                    <a:pt x="884" y="348"/>
                    <a:pt x="896" y="348"/>
                  </a:cubicBezTo>
                  <a:cubicBezTo>
                    <a:pt x="1095" y="348"/>
                    <a:pt x="1095" y="348"/>
                    <a:pt x="1095" y="348"/>
                  </a:cubicBezTo>
                  <a:cubicBezTo>
                    <a:pt x="1107" y="348"/>
                    <a:pt x="1117" y="338"/>
                    <a:pt x="1117" y="326"/>
                  </a:cubicBezTo>
                  <a:cubicBezTo>
                    <a:pt x="1117" y="127"/>
                    <a:pt x="1117" y="127"/>
                    <a:pt x="1117" y="127"/>
                  </a:cubicBezTo>
                  <a:cubicBezTo>
                    <a:pt x="1117" y="115"/>
                    <a:pt x="1107" y="105"/>
                    <a:pt x="1095" y="105"/>
                  </a:cubicBezTo>
                  <a:moveTo>
                    <a:pt x="1493" y="496"/>
                  </a:moveTo>
                  <a:cubicBezTo>
                    <a:pt x="1493" y="222"/>
                    <a:pt x="1493" y="222"/>
                    <a:pt x="1493" y="222"/>
                  </a:cubicBezTo>
                  <a:cubicBezTo>
                    <a:pt x="1493" y="210"/>
                    <a:pt x="1483" y="200"/>
                    <a:pt x="1471" y="200"/>
                  </a:cubicBezTo>
                  <a:cubicBezTo>
                    <a:pt x="1197" y="200"/>
                    <a:pt x="1197" y="200"/>
                    <a:pt x="1197" y="200"/>
                  </a:cubicBezTo>
                  <a:cubicBezTo>
                    <a:pt x="1185" y="200"/>
                    <a:pt x="1175" y="210"/>
                    <a:pt x="1175" y="222"/>
                  </a:cubicBezTo>
                  <a:cubicBezTo>
                    <a:pt x="1175" y="496"/>
                    <a:pt x="1175" y="496"/>
                    <a:pt x="1175" y="496"/>
                  </a:cubicBezTo>
                  <a:cubicBezTo>
                    <a:pt x="1175" y="508"/>
                    <a:pt x="1185" y="518"/>
                    <a:pt x="1197" y="518"/>
                  </a:cubicBezTo>
                  <a:cubicBezTo>
                    <a:pt x="1471" y="518"/>
                    <a:pt x="1471" y="518"/>
                    <a:pt x="1471" y="518"/>
                  </a:cubicBezTo>
                  <a:cubicBezTo>
                    <a:pt x="1483" y="518"/>
                    <a:pt x="1493" y="508"/>
                    <a:pt x="1493" y="496"/>
                  </a:cubicBezTo>
                  <a:close/>
                  <a:moveTo>
                    <a:pt x="1117" y="667"/>
                  </a:moveTo>
                  <a:cubicBezTo>
                    <a:pt x="1117" y="431"/>
                    <a:pt x="1117" y="431"/>
                    <a:pt x="1117" y="431"/>
                  </a:cubicBezTo>
                  <a:cubicBezTo>
                    <a:pt x="1117" y="419"/>
                    <a:pt x="1107" y="409"/>
                    <a:pt x="1095" y="409"/>
                  </a:cubicBezTo>
                  <a:cubicBezTo>
                    <a:pt x="860" y="409"/>
                    <a:pt x="860" y="409"/>
                    <a:pt x="860" y="409"/>
                  </a:cubicBezTo>
                  <a:cubicBezTo>
                    <a:pt x="848" y="409"/>
                    <a:pt x="838" y="419"/>
                    <a:pt x="838" y="431"/>
                  </a:cubicBezTo>
                  <a:cubicBezTo>
                    <a:pt x="838" y="667"/>
                    <a:pt x="838" y="667"/>
                    <a:pt x="838" y="667"/>
                  </a:cubicBezTo>
                  <a:cubicBezTo>
                    <a:pt x="838" y="679"/>
                    <a:pt x="848" y="689"/>
                    <a:pt x="860" y="689"/>
                  </a:cubicBezTo>
                  <a:cubicBezTo>
                    <a:pt x="1095" y="689"/>
                    <a:pt x="1095" y="689"/>
                    <a:pt x="1095" y="689"/>
                  </a:cubicBezTo>
                  <a:cubicBezTo>
                    <a:pt x="1107" y="689"/>
                    <a:pt x="1117" y="679"/>
                    <a:pt x="1117" y="66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9" name="Freeform 11">
              <a:extLst>
                <a:ext uri="{FF2B5EF4-FFF2-40B4-BE49-F238E27FC236}">
                  <a16:creationId xmlns:a16="http://schemas.microsoft.com/office/drawing/2014/main" xmlns="" id="{55C50C4B-BED9-4109-A55B-C7995AB6DF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4" y="728"/>
              <a:ext cx="1509" cy="2865"/>
            </a:xfrm>
            <a:custGeom>
              <a:avLst/>
              <a:gdLst>
                <a:gd name="T0" fmla="*/ 762 w 806"/>
                <a:gd name="T1" fmla="*/ 695 h 1528"/>
                <a:gd name="T2" fmla="*/ 762 w 806"/>
                <a:gd name="T3" fmla="*/ 1252 h 1528"/>
                <a:gd name="T4" fmla="*/ 44 w 806"/>
                <a:gd name="T5" fmla="*/ 1252 h 1528"/>
                <a:gd name="T6" fmla="*/ 44 w 806"/>
                <a:gd name="T7" fmla="*/ 44 h 1528"/>
                <a:gd name="T8" fmla="*/ 762 w 806"/>
                <a:gd name="T9" fmla="*/ 44 h 1528"/>
                <a:gd name="T10" fmla="*/ 762 w 806"/>
                <a:gd name="T11" fmla="*/ 405 h 1528"/>
                <a:gd name="T12" fmla="*/ 806 w 806"/>
                <a:gd name="T13" fmla="*/ 405 h 1528"/>
                <a:gd name="T14" fmla="*/ 806 w 806"/>
                <a:gd name="T15" fmla="*/ 22 h 1528"/>
                <a:gd name="T16" fmla="*/ 784 w 806"/>
                <a:gd name="T17" fmla="*/ 0 h 1528"/>
                <a:gd name="T18" fmla="*/ 22 w 806"/>
                <a:gd name="T19" fmla="*/ 0 h 1528"/>
                <a:gd name="T20" fmla="*/ 0 w 806"/>
                <a:gd name="T21" fmla="*/ 22 h 1528"/>
                <a:gd name="T22" fmla="*/ 0 w 806"/>
                <a:gd name="T23" fmla="*/ 1252 h 1528"/>
                <a:gd name="T24" fmla="*/ 0 w 806"/>
                <a:gd name="T25" fmla="*/ 1296 h 1528"/>
                <a:gd name="T26" fmla="*/ 0 w 806"/>
                <a:gd name="T27" fmla="*/ 1506 h 1528"/>
                <a:gd name="T28" fmla="*/ 22 w 806"/>
                <a:gd name="T29" fmla="*/ 1528 h 1528"/>
                <a:gd name="T30" fmla="*/ 784 w 806"/>
                <a:gd name="T31" fmla="*/ 1528 h 1528"/>
                <a:gd name="T32" fmla="*/ 806 w 806"/>
                <a:gd name="T33" fmla="*/ 1506 h 1528"/>
                <a:gd name="T34" fmla="*/ 806 w 806"/>
                <a:gd name="T35" fmla="*/ 1296 h 1528"/>
                <a:gd name="T36" fmla="*/ 806 w 806"/>
                <a:gd name="T37" fmla="*/ 1252 h 1528"/>
                <a:gd name="T38" fmla="*/ 806 w 806"/>
                <a:gd name="T39" fmla="*/ 695 h 1528"/>
                <a:gd name="T40" fmla="*/ 762 w 806"/>
                <a:gd name="T41" fmla="*/ 695 h 1528"/>
                <a:gd name="T42" fmla="*/ 762 w 806"/>
                <a:gd name="T43" fmla="*/ 1484 h 1528"/>
                <a:gd name="T44" fmla="*/ 44 w 806"/>
                <a:gd name="T45" fmla="*/ 1484 h 1528"/>
                <a:gd name="T46" fmla="*/ 44 w 806"/>
                <a:gd name="T47" fmla="*/ 1296 h 1528"/>
                <a:gd name="T48" fmla="*/ 762 w 806"/>
                <a:gd name="T49" fmla="*/ 1296 h 1528"/>
                <a:gd name="T50" fmla="*/ 762 w 806"/>
                <a:gd name="T51" fmla="*/ 1484 h 1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06" h="1528">
                  <a:moveTo>
                    <a:pt x="762" y="695"/>
                  </a:moveTo>
                  <a:cubicBezTo>
                    <a:pt x="762" y="1252"/>
                    <a:pt x="762" y="1252"/>
                    <a:pt x="762" y="1252"/>
                  </a:cubicBezTo>
                  <a:cubicBezTo>
                    <a:pt x="44" y="1252"/>
                    <a:pt x="44" y="1252"/>
                    <a:pt x="44" y="1252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762" y="44"/>
                    <a:pt x="762" y="44"/>
                    <a:pt x="762" y="44"/>
                  </a:cubicBezTo>
                  <a:cubicBezTo>
                    <a:pt x="762" y="405"/>
                    <a:pt x="762" y="405"/>
                    <a:pt x="762" y="405"/>
                  </a:cubicBezTo>
                  <a:cubicBezTo>
                    <a:pt x="806" y="405"/>
                    <a:pt x="806" y="405"/>
                    <a:pt x="806" y="405"/>
                  </a:cubicBezTo>
                  <a:cubicBezTo>
                    <a:pt x="806" y="22"/>
                    <a:pt x="806" y="22"/>
                    <a:pt x="806" y="22"/>
                  </a:cubicBezTo>
                  <a:cubicBezTo>
                    <a:pt x="806" y="10"/>
                    <a:pt x="796" y="0"/>
                    <a:pt x="784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1252"/>
                    <a:pt x="0" y="1252"/>
                    <a:pt x="0" y="1252"/>
                  </a:cubicBezTo>
                  <a:cubicBezTo>
                    <a:pt x="0" y="1296"/>
                    <a:pt x="0" y="1296"/>
                    <a:pt x="0" y="1296"/>
                  </a:cubicBezTo>
                  <a:cubicBezTo>
                    <a:pt x="0" y="1506"/>
                    <a:pt x="0" y="1506"/>
                    <a:pt x="0" y="1506"/>
                  </a:cubicBezTo>
                  <a:cubicBezTo>
                    <a:pt x="0" y="1518"/>
                    <a:pt x="10" y="1528"/>
                    <a:pt x="22" y="1528"/>
                  </a:cubicBezTo>
                  <a:cubicBezTo>
                    <a:pt x="784" y="1528"/>
                    <a:pt x="784" y="1528"/>
                    <a:pt x="784" y="1528"/>
                  </a:cubicBezTo>
                  <a:cubicBezTo>
                    <a:pt x="796" y="1528"/>
                    <a:pt x="806" y="1518"/>
                    <a:pt x="806" y="1506"/>
                  </a:cubicBezTo>
                  <a:cubicBezTo>
                    <a:pt x="806" y="1296"/>
                    <a:pt x="806" y="1296"/>
                    <a:pt x="806" y="1296"/>
                  </a:cubicBezTo>
                  <a:cubicBezTo>
                    <a:pt x="806" y="1252"/>
                    <a:pt x="806" y="1252"/>
                    <a:pt x="806" y="1252"/>
                  </a:cubicBezTo>
                  <a:cubicBezTo>
                    <a:pt x="806" y="695"/>
                    <a:pt x="806" y="695"/>
                    <a:pt x="806" y="695"/>
                  </a:cubicBezTo>
                  <a:lnTo>
                    <a:pt x="762" y="695"/>
                  </a:lnTo>
                  <a:close/>
                  <a:moveTo>
                    <a:pt x="762" y="1484"/>
                  </a:moveTo>
                  <a:cubicBezTo>
                    <a:pt x="44" y="1484"/>
                    <a:pt x="44" y="1484"/>
                    <a:pt x="44" y="1484"/>
                  </a:cubicBezTo>
                  <a:cubicBezTo>
                    <a:pt x="44" y="1296"/>
                    <a:pt x="44" y="1296"/>
                    <a:pt x="44" y="1296"/>
                  </a:cubicBezTo>
                  <a:cubicBezTo>
                    <a:pt x="762" y="1296"/>
                    <a:pt x="762" y="1296"/>
                    <a:pt x="762" y="1296"/>
                  </a:cubicBezTo>
                  <a:lnTo>
                    <a:pt x="762" y="148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grpSp>
        <p:nvGrpSpPr>
          <p:cNvPr id="20" name="bcgIcons_RadioTower">
            <a:extLst>
              <a:ext uri="{FF2B5EF4-FFF2-40B4-BE49-F238E27FC236}">
                <a16:creationId xmlns:a16="http://schemas.microsoft.com/office/drawing/2014/main" xmlns="" id="{A8FEB43D-91EE-4932-93E9-1B55A2DB8C8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4882895" y="3029810"/>
            <a:ext cx="431777" cy="432310"/>
            <a:chOff x="1682" y="0"/>
            <a:chExt cx="4316" cy="4320"/>
          </a:xfrm>
        </p:grpSpPr>
        <p:sp>
          <p:nvSpPr>
            <p:cNvPr id="21" name="AutoShape 18">
              <a:extLst>
                <a:ext uri="{FF2B5EF4-FFF2-40B4-BE49-F238E27FC236}">
                  <a16:creationId xmlns:a16="http://schemas.microsoft.com/office/drawing/2014/main" xmlns="" id="{453E67F6-E6EF-40EB-A252-1C09FBDD2B6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2" name="Freeform 20">
              <a:extLst>
                <a:ext uri="{FF2B5EF4-FFF2-40B4-BE49-F238E27FC236}">
                  <a16:creationId xmlns:a16="http://schemas.microsoft.com/office/drawing/2014/main" xmlns="" id="{D5D54C5F-055D-4434-9BD3-CA68A7A66C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12" y="1198"/>
              <a:ext cx="2056" cy="2711"/>
            </a:xfrm>
            <a:custGeom>
              <a:avLst/>
              <a:gdLst>
                <a:gd name="T0" fmla="*/ 1094 w 1098"/>
                <a:gd name="T1" fmla="*/ 1414 h 1446"/>
                <a:gd name="T2" fmla="*/ 607 w 1098"/>
                <a:gd name="T3" fmla="*/ 0 h 1446"/>
                <a:gd name="T4" fmla="*/ 565 w 1098"/>
                <a:gd name="T5" fmla="*/ 14 h 1446"/>
                <a:gd name="T6" fmla="*/ 623 w 1098"/>
                <a:gd name="T7" fmla="*/ 183 h 1446"/>
                <a:gd name="T8" fmla="*/ 475 w 1098"/>
                <a:gd name="T9" fmla="*/ 183 h 1446"/>
                <a:gd name="T10" fmla="*/ 533 w 1098"/>
                <a:gd name="T11" fmla="*/ 14 h 1446"/>
                <a:gd name="T12" fmla="*/ 491 w 1098"/>
                <a:gd name="T13" fmla="*/ 0 h 1446"/>
                <a:gd name="T14" fmla="*/ 4 w 1098"/>
                <a:gd name="T15" fmla="*/ 1414 h 1446"/>
                <a:gd name="T16" fmla="*/ 18 w 1098"/>
                <a:gd name="T17" fmla="*/ 1442 h 1446"/>
                <a:gd name="T18" fmla="*/ 46 w 1098"/>
                <a:gd name="T19" fmla="*/ 1429 h 1446"/>
                <a:gd name="T20" fmla="*/ 145 w 1098"/>
                <a:gd name="T21" fmla="*/ 1139 h 1446"/>
                <a:gd name="T22" fmla="*/ 953 w 1098"/>
                <a:gd name="T23" fmla="*/ 1139 h 1446"/>
                <a:gd name="T24" fmla="*/ 1052 w 1098"/>
                <a:gd name="T25" fmla="*/ 1429 h 1446"/>
                <a:gd name="T26" fmla="*/ 1073 w 1098"/>
                <a:gd name="T27" fmla="*/ 1443 h 1446"/>
                <a:gd name="T28" fmla="*/ 1080 w 1098"/>
                <a:gd name="T29" fmla="*/ 1442 h 1446"/>
                <a:gd name="T30" fmla="*/ 1094 w 1098"/>
                <a:gd name="T31" fmla="*/ 1414 h 1446"/>
                <a:gd name="T32" fmla="*/ 826 w 1098"/>
                <a:gd name="T33" fmla="*/ 771 h 1446"/>
                <a:gd name="T34" fmla="*/ 592 w 1098"/>
                <a:gd name="T35" fmla="*/ 633 h 1446"/>
                <a:gd name="T36" fmla="*/ 747 w 1098"/>
                <a:gd name="T37" fmla="*/ 542 h 1446"/>
                <a:gd name="T38" fmla="*/ 826 w 1098"/>
                <a:gd name="T39" fmla="*/ 771 h 1446"/>
                <a:gd name="T40" fmla="*/ 324 w 1098"/>
                <a:gd name="T41" fmla="*/ 791 h 1446"/>
                <a:gd name="T42" fmla="*/ 549 w 1098"/>
                <a:gd name="T43" fmla="*/ 658 h 1446"/>
                <a:gd name="T44" fmla="*/ 774 w 1098"/>
                <a:gd name="T45" fmla="*/ 791 h 1446"/>
                <a:gd name="T46" fmla="*/ 324 w 1098"/>
                <a:gd name="T47" fmla="*/ 791 h 1446"/>
                <a:gd name="T48" fmla="*/ 745 w 1098"/>
                <a:gd name="T49" fmla="*/ 835 h 1446"/>
                <a:gd name="T50" fmla="*/ 549 w 1098"/>
                <a:gd name="T51" fmla="*/ 917 h 1446"/>
                <a:gd name="T52" fmla="*/ 353 w 1098"/>
                <a:gd name="T53" fmla="*/ 835 h 1446"/>
                <a:gd name="T54" fmla="*/ 745 w 1098"/>
                <a:gd name="T55" fmla="*/ 835 h 1446"/>
                <a:gd name="T56" fmla="*/ 420 w 1098"/>
                <a:gd name="T57" fmla="*/ 531 h 1446"/>
                <a:gd name="T58" fmla="*/ 678 w 1098"/>
                <a:gd name="T59" fmla="*/ 531 h 1446"/>
                <a:gd name="T60" fmla="*/ 549 w 1098"/>
                <a:gd name="T61" fmla="*/ 607 h 1446"/>
                <a:gd name="T62" fmla="*/ 420 w 1098"/>
                <a:gd name="T63" fmla="*/ 531 h 1446"/>
                <a:gd name="T64" fmla="*/ 460 w 1098"/>
                <a:gd name="T65" fmla="*/ 227 h 1446"/>
                <a:gd name="T66" fmla="*/ 638 w 1098"/>
                <a:gd name="T67" fmla="*/ 227 h 1446"/>
                <a:gd name="T68" fmla="*/ 728 w 1098"/>
                <a:gd name="T69" fmla="*/ 487 h 1446"/>
                <a:gd name="T70" fmla="*/ 370 w 1098"/>
                <a:gd name="T71" fmla="*/ 487 h 1446"/>
                <a:gd name="T72" fmla="*/ 460 w 1098"/>
                <a:gd name="T73" fmla="*/ 227 h 1446"/>
                <a:gd name="T74" fmla="*/ 351 w 1098"/>
                <a:gd name="T75" fmla="*/ 542 h 1446"/>
                <a:gd name="T76" fmla="*/ 506 w 1098"/>
                <a:gd name="T77" fmla="*/ 633 h 1446"/>
                <a:gd name="T78" fmla="*/ 272 w 1098"/>
                <a:gd name="T79" fmla="*/ 771 h 1446"/>
                <a:gd name="T80" fmla="*/ 351 w 1098"/>
                <a:gd name="T81" fmla="*/ 542 h 1446"/>
                <a:gd name="T82" fmla="*/ 249 w 1098"/>
                <a:gd name="T83" fmla="*/ 839 h 1446"/>
                <a:gd name="T84" fmla="*/ 492 w 1098"/>
                <a:gd name="T85" fmla="*/ 941 h 1446"/>
                <a:gd name="T86" fmla="*/ 167 w 1098"/>
                <a:gd name="T87" fmla="*/ 1078 h 1446"/>
                <a:gd name="T88" fmla="*/ 249 w 1098"/>
                <a:gd name="T89" fmla="*/ 839 h 1446"/>
                <a:gd name="T90" fmla="*/ 239 w 1098"/>
                <a:gd name="T91" fmla="*/ 1095 h 1446"/>
                <a:gd name="T92" fmla="*/ 549 w 1098"/>
                <a:gd name="T93" fmla="*/ 965 h 1446"/>
                <a:gd name="T94" fmla="*/ 859 w 1098"/>
                <a:gd name="T95" fmla="*/ 1095 h 1446"/>
                <a:gd name="T96" fmla="*/ 239 w 1098"/>
                <a:gd name="T97" fmla="*/ 1095 h 1446"/>
                <a:gd name="T98" fmla="*/ 606 w 1098"/>
                <a:gd name="T99" fmla="*/ 941 h 1446"/>
                <a:gd name="T100" fmla="*/ 849 w 1098"/>
                <a:gd name="T101" fmla="*/ 839 h 1446"/>
                <a:gd name="T102" fmla="*/ 931 w 1098"/>
                <a:gd name="T103" fmla="*/ 1078 h 1446"/>
                <a:gd name="T104" fmla="*/ 606 w 1098"/>
                <a:gd name="T105" fmla="*/ 941 h 1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098" h="1446">
                  <a:moveTo>
                    <a:pt x="1094" y="1414"/>
                  </a:moveTo>
                  <a:cubicBezTo>
                    <a:pt x="607" y="0"/>
                    <a:pt x="607" y="0"/>
                    <a:pt x="607" y="0"/>
                  </a:cubicBezTo>
                  <a:cubicBezTo>
                    <a:pt x="594" y="7"/>
                    <a:pt x="580" y="12"/>
                    <a:pt x="565" y="14"/>
                  </a:cubicBezTo>
                  <a:cubicBezTo>
                    <a:pt x="623" y="183"/>
                    <a:pt x="623" y="183"/>
                    <a:pt x="623" y="183"/>
                  </a:cubicBezTo>
                  <a:cubicBezTo>
                    <a:pt x="475" y="183"/>
                    <a:pt x="475" y="183"/>
                    <a:pt x="475" y="183"/>
                  </a:cubicBezTo>
                  <a:cubicBezTo>
                    <a:pt x="533" y="14"/>
                    <a:pt x="533" y="14"/>
                    <a:pt x="533" y="14"/>
                  </a:cubicBezTo>
                  <a:cubicBezTo>
                    <a:pt x="518" y="12"/>
                    <a:pt x="504" y="7"/>
                    <a:pt x="491" y="0"/>
                  </a:cubicBezTo>
                  <a:cubicBezTo>
                    <a:pt x="4" y="1414"/>
                    <a:pt x="4" y="1414"/>
                    <a:pt x="4" y="1414"/>
                  </a:cubicBezTo>
                  <a:cubicBezTo>
                    <a:pt x="0" y="1426"/>
                    <a:pt x="6" y="1438"/>
                    <a:pt x="18" y="1442"/>
                  </a:cubicBezTo>
                  <a:cubicBezTo>
                    <a:pt x="29" y="1446"/>
                    <a:pt x="42" y="1440"/>
                    <a:pt x="46" y="1429"/>
                  </a:cubicBezTo>
                  <a:cubicBezTo>
                    <a:pt x="145" y="1139"/>
                    <a:pt x="145" y="1139"/>
                    <a:pt x="145" y="1139"/>
                  </a:cubicBezTo>
                  <a:cubicBezTo>
                    <a:pt x="953" y="1139"/>
                    <a:pt x="953" y="1139"/>
                    <a:pt x="953" y="1139"/>
                  </a:cubicBezTo>
                  <a:cubicBezTo>
                    <a:pt x="1052" y="1429"/>
                    <a:pt x="1052" y="1429"/>
                    <a:pt x="1052" y="1429"/>
                  </a:cubicBezTo>
                  <a:cubicBezTo>
                    <a:pt x="1055" y="1438"/>
                    <a:pt x="1064" y="1443"/>
                    <a:pt x="1073" y="1443"/>
                  </a:cubicBezTo>
                  <a:cubicBezTo>
                    <a:pt x="1075" y="1443"/>
                    <a:pt x="1078" y="1443"/>
                    <a:pt x="1080" y="1442"/>
                  </a:cubicBezTo>
                  <a:cubicBezTo>
                    <a:pt x="1092" y="1438"/>
                    <a:pt x="1098" y="1426"/>
                    <a:pt x="1094" y="1414"/>
                  </a:cubicBezTo>
                  <a:close/>
                  <a:moveTo>
                    <a:pt x="826" y="771"/>
                  </a:moveTo>
                  <a:cubicBezTo>
                    <a:pt x="592" y="633"/>
                    <a:pt x="592" y="633"/>
                    <a:pt x="592" y="633"/>
                  </a:cubicBezTo>
                  <a:cubicBezTo>
                    <a:pt x="747" y="542"/>
                    <a:pt x="747" y="542"/>
                    <a:pt x="747" y="542"/>
                  </a:cubicBezTo>
                  <a:lnTo>
                    <a:pt x="826" y="771"/>
                  </a:lnTo>
                  <a:close/>
                  <a:moveTo>
                    <a:pt x="324" y="791"/>
                  </a:moveTo>
                  <a:cubicBezTo>
                    <a:pt x="549" y="658"/>
                    <a:pt x="549" y="658"/>
                    <a:pt x="549" y="658"/>
                  </a:cubicBezTo>
                  <a:cubicBezTo>
                    <a:pt x="774" y="791"/>
                    <a:pt x="774" y="791"/>
                    <a:pt x="774" y="791"/>
                  </a:cubicBezTo>
                  <a:lnTo>
                    <a:pt x="324" y="791"/>
                  </a:lnTo>
                  <a:close/>
                  <a:moveTo>
                    <a:pt x="745" y="835"/>
                  </a:moveTo>
                  <a:cubicBezTo>
                    <a:pt x="549" y="917"/>
                    <a:pt x="549" y="917"/>
                    <a:pt x="549" y="917"/>
                  </a:cubicBezTo>
                  <a:cubicBezTo>
                    <a:pt x="353" y="835"/>
                    <a:pt x="353" y="835"/>
                    <a:pt x="353" y="835"/>
                  </a:cubicBezTo>
                  <a:lnTo>
                    <a:pt x="745" y="835"/>
                  </a:lnTo>
                  <a:close/>
                  <a:moveTo>
                    <a:pt x="420" y="531"/>
                  </a:moveTo>
                  <a:cubicBezTo>
                    <a:pt x="678" y="531"/>
                    <a:pt x="678" y="531"/>
                    <a:pt x="678" y="531"/>
                  </a:cubicBezTo>
                  <a:cubicBezTo>
                    <a:pt x="549" y="607"/>
                    <a:pt x="549" y="607"/>
                    <a:pt x="549" y="607"/>
                  </a:cubicBezTo>
                  <a:lnTo>
                    <a:pt x="420" y="531"/>
                  </a:lnTo>
                  <a:close/>
                  <a:moveTo>
                    <a:pt x="460" y="227"/>
                  </a:moveTo>
                  <a:cubicBezTo>
                    <a:pt x="638" y="227"/>
                    <a:pt x="638" y="227"/>
                    <a:pt x="638" y="227"/>
                  </a:cubicBezTo>
                  <a:cubicBezTo>
                    <a:pt x="728" y="487"/>
                    <a:pt x="728" y="487"/>
                    <a:pt x="728" y="487"/>
                  </a:cubicBezTo>
                  <a:cubicBezTo>
                    <a:pt x="370" y="487"/>
                    <a:pt x="370" y="487"/>
                    <a:pt x="370" y="487"/>
                  </a:cubicBezTo>
                  <a:lnTo>
                    <a:pt x="460" y="227"/>
                  </a:lnTo>
                  <a:close/>
                  <a:moveTo>
                    <a:pt x="351" y="542"/>
                  </a:moveTo>
                  <a:cubicBezTo>
                    <a:pt x="506" y="633"/>
                    <a:pt x="506" y="633"/>
                    <a:pt x="506" y="633"/>
                  </a:cubicBezTo>
                  <a:cubicBezTo>
                    <a:pt x="272" y="771"/>
                    <a:pt x="272" y="771"/>
                    <a:pt x="272" y="771"/>
                  </a:cubicBezTo>
                  <a:lnTo>
                    <a:pt x="351" y="542"/>
                  </a:lnTo>
                  <a:close/>
                  <a:moveTo>
                    <a:pt x="249" y="839"/>
                  </a:moveTo>
                  <a:cubicBezTo>
                    <a:pt x="492" y="941"/>
                    <a:pt x="492" y="941"/>
                    <a:pt x="492" y="941"/>
                  </a:cubicBezTo>
                  <a:cubicBezTo>
                    <a:pt x="167" y="1078"/>
                    <a:pt x="167" y="1078"/>
                    <a:pt x="167" y="1078"/>
                  </a:cubicBezTo>
                  <a:lnTo>
                    <a:pt x="249" y="839"/>
                  </a:lnTo>
                  <a:close/>
                  <a:moveTo>
                    <a:pt x="239" y="1095"/>
                  </a:moveTo>
                  <a:cubicBezTo>
                    <a:pt x="549" y="965"/>
                    <a:pt x="549" y="965"/>
                    <a:pt x="549" y="965"/>
                  </a:cubicBezTo>
                  <a:cubicBezTo>
                    <a:pt x="859" y="1095"/>
                    <a:pt x="859" y="1095"/>
                    <a:pt x="859" y="1095"/>
                  </a:cubicBezTo>
                  <a:lnTo>
                    <a:pt x="239" y="1095"/>
                  </a:lnTo>
                  <a:close/>
                  <a:moveTo>
                    <a:pt x="606" y="941"/>
                  </a:moveTo>
                  <a:cubicBezTo>
                    <a:pt x="849" y="839"/>
                    <a:pt x="849" y="839"/>
                    <a:pt x="849" y="839"/>
                  </a:cubicBezTo>
                  <a:cubicBezTo>
                    <a:pt x="931" y="1078"/>
                    <a:pt x="931" y="1078"/>
                    <a:pt x="931" y="1078"/>
                  </a:cubicBezTo>
                  <a:lnTo>
                    <a:pt x="606" y="94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3" name="Freeform 21">
              <a:extLst>
                <a:ext uri="{FF2B5EF4-FFF2-40B4-BE49-F238E27FC236}">
                  <a16:creationId xmlns:a16="http://schemas.microsoft.com/office/drawing/2014/main" xmlns="" id="{9DB4C03F-11C1-4DBF-882E-44420328E5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50" y="412"/>
              <a:ext cx="1180" cy="1022"/>
            </a:xfrm>
            <a:custGeom>
              <a:avLst/>
              <a:gdLst>
                <a:gd name="T0" fmla="*/ 315 w 630"/>
                <a:gd name="T1" fmla="*/ 235 h 545"/>
                <a:gd name="T2" fmla="*/ 392 w 630"/>
                <a:gd name="T3" fmla="*/ 312 h 545"/>
                <a:gd name="T4" fmla="*/ 315 w 630"/>
                <a:gd name="T5" fmla="*/ 390 h 545"/>
                <a:gd name="T6" fmla="*/ 238 w 630"/>
                <a:gd name="T7" fmla="*/ 312 h 545"/>
                <a:gd name="T8" fmla="*/ 315 w 630"/>
                <a:gd name="T9" fmla="*/ 235 h 545"/>
                <a:gd name="T10" fmla="*/ 456 w 630"/>
                <a:gd name="T11" fmla="*/ 428 h 545"/>
                <a:gd name="T12" fmla="*/ 497 w 630"/>
                <a:gd name="T13" fmla="*/ 312 h 545"/>
                <a:gd name="T14" fmla="*/ 315 w 630"/>
                <a:gd name="T15" fmla="*/ 130 h 545"/>
                <a:gd name="T16" fmla="*/ 133 w 630"/>
                <a:gd name="T17" fmla="*/ 312 h 545"/>
                <a:gd name="T18" fmla="*/ 174 w 630"/>
                <a:gd name="T19" fmla="*/ 428 h 545"/>
                <a:gd name="T20" fmla="*/ 205 w 630"/>
                <a:gd name="T21" fmla="*/ 431 h 545"/>
                <a:gd name="T22" fmla="*/ 208 w 630"/>
                <a:gd name="T23" fmla="*/ 400 h 545"/>
                <a:gd name="T24" fmla="*/ 177 w 630"/>
                <a:gd name="T25" fmla="*/ 312 h 545"/>
                <a:gd name="T26" fmla="*/ 315 w 630"/>
                <a:gd name="T27" fmla="*/ 174 h 545"/>
                <a:gd name="T28" fmla="*/ 453 w 630"/>
                <a:gd name="T29" fmla="*/ 312 h 545"/>
                <a:gd name="T30" fmla="*/ 422 w 630"/>
                <a:gd name="T31" fmla="*/ 400 h 545"/>
                <a:gd name="T32" fmla="*/ 425 w 630"/>
                <a:gd name="T33" fmla="*/ 431 h 545"/>
                <a:gd name="T34" fmla="*/ 439 w 630"/>
                <a:gd name="T35" fmla="*/ 436 h 545"/>
                <a:gd name="T36" fmla="*/ 456 w 630"/>
                <a:gd name="T37" fmla="*/ 428 h 545"/>
                <a:gd name="T38" fmla="*/ 538 w 630"/>
                <a:gd name="T39" fmla="*/ 538 h 545"/>
                <a:gd name="T40" fmla="*/ 630 w 630"/>
                <a:gd name="T41" fmla="*/ 315 h 545"/>
                <a:gd name="T42" fmla="*/ 315 w 630"/>
                <a:gd name="T43" fmla="*/ 0 h 545"/>
                <a:gd name="T44" fmla="*/ 0 w 630"/>
                <a:gd name="T45" fmla="*/ 315 h 545"/>
                <a:gd name="T46" fmla="*/ 90 w 630"/>
                <a:gd name="T47" fmla="*/ 536 h 545"/>
                <a:gd name="T48" fmla="*/ 121 w 630"/>
                <a:gd name="T49" fmla="*/ 536 h 545"/>
                <a:gd name="T50" fmla="*/ 121 w 630"/>
                <a:gd name="T51" fmla="*/ 505 h 545"/>
                <a:gd name="T52" fmla="*/ 44 w 630"/>
                <a:gd name="T53" fmla="*/ 315 h 545"/>
                <a:gd name="T54" fmla="*/ 315 w 630"/>
                <a:gd name="T55" fmla="*/ 44 h 545"/>
                <a:gd name="T56" fmla="*/ 586 w 630"/>
                <a:gd name="T57" fmla="*/ 315 h 545"/>
                <a:gd name="T58" fmla="*/ 507 w 630"/>
                <a:gd name="T59" fmla="*/ 507 h 545"/>
                <a:gd name="T60" fmla="*/ 507 w 630"/>
                <a:gd name="T61" fmla="*/ 538 h 545"/>
                <a:gd name="T62" fmla="*/ 522 w 630"/>
                <a:gd name="T63" fmla="*/ 544 h 545"/>
                <a:gd name="T64" fmla="*/ 538 w 630"/>
                <a:gd name="T65" fmla="*/ 538 h 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30" h="545">
                  <a:moveTo>
                    <a:pt x="315" y="235"/>
                  </a:moveTo>
                  <a:cubicBezTo>
                    <a:pt x="358" y="235"/>
                    <a:pt x="392" y="270"/>
                    <a:pt x="392" y="312"/>
                  </a:cubicBezTo>
                  <a:cubicBezTo>
                    <a:pt x="392" y="355"/>
                    <a:pt x="358" y="390"/>
                    <a:pt x="315" y="390"/>
                  </a:cubicBezTo>
                  <a:cubicBezTo>
                    <a:pt x="272" y="390"/>
                    <a:pt x="238" y="355"/>
                    <a:pt x="238" y="312"/>
                  </a:cubicBezTo>
                  <a:cubicBezTo>
                    <a:pt x="238" y="270"/>
                    <a:pt x="272" y="235"/>
                    <a:pt x="315" y="235"/>
                  </a:cubicBezTo>
                  <a:moveTo>
                    <a:pt x="456" y="428"/>
                  </a:moveTo>
                  <a:cubicBezTo>
                    <a:pt x="483" y="395"/>
                    <a:pt x="497" y="354"/>
                    <a:pt x="497" y="312"/>
                  </a:cubicBezTo>
                  <a:cubicBezTo>
                    <a:pt x="497" y="212"/>
                    <a:pt x="416" y="130"/>
                    <a:pt x="315" y="130"/>
                  </a:cubicBezTo>
                  <a:cubicBezTo>
                    <a:pt x="214" y="130"/>
                    <a:pt x="133" y="212"/>
                    <a:pt x="133" y="312"/>
                  </a:cubicBezTo>
                  <a:cubicBezTo>
                    <a:pt x="133" y="354"/>
                    <a:pt x="147" y="395"/>
                    <a:pt x="174" y="428"/>
                  </a:cubicBezTo>
                  <a:cubicBezTo>
                    <a:pt x="182" y="437"/>
                    <a:pt x="195" y="439"/>
                    <a:pt x="205" y="431"/>
                  </a:cubicBezTo>
                  <a:cubicBezTo>
                    <a:pt x="214" y="423"/>
                    <a:pt x="216" y="409"/>
                    <a:pt x="208" y="400"/>
                  </a:cubicBezTo>
                  <a:cubicBezTo>
                    <a:pt x="188" y="375"/>
                    <a:pt x="177" y="344"/>
                    <a:pt x="177" y="312"/>
                  </a:cubicBezTo>
                  <a:cubicBezTo>
                    <a:pt x="177" y="236"/>
                    <a:pt x="239" y="174"/>
                    <a:pt x="315" y="174"/>
                  </a:cubicBezTo>
                  <a:cubicBezTo>
                    <a:pt x="391" y="174"/>
                    <a:pt x="453" y="236"/>
                    <a:pt x="453" y="312"/>
                  </a:cubicBezTo>
                  <a:cubicBezTo>
                    <a:pt x="453" y="344"/>
                    <a:pt x="442" y="375"/>
                    <a:pt x="422" y="400"/>
                  </a:cubicBezTo>
                  <a:cubicBezTo>
                    <a:pt x="414" y="409"/>
                    <a:pt x="416" y="423"/>
                    <a:pt x="425" y="431"/>
                  </a:cubicBezTo>
                  <a:cubicBezTo>
                    <a:pt x="429" y="434"/>
                    <a:pt x="434" y="436"/>
                    <a:pt x="439" y="436"/>
                  </a:cubicBezTo>
                  <a:cubicBezTo>
                    <a:pt x="445" y="436"/>
                    <a:pt x="452" y="433"/>
                    <a:pt x="456" y="428"/>
                  </a:cubicBezTo>
                  <a:close/>
                  <a:moveTo>
                    <a:pt x="538" y="538"/>
                  </a:moveTo>
                  <a:cubicBezTo>
                    <a:pt x="598" y="478"/>
                    <a:pt x="630" y="399"/>
                    <a:pt x="630" y="315"/>
                  </a:cubicBezTo>
                  <a:cubicBezTo>
                    <a:pt x="630" y="141"/>
                    <a:pt x="489" y="0"/>
                    <a:pt x="315" y="0"/>
                  </a:cubicBezTo>
                  <a:cubicBezTo>
                    <a:pt x="141" y="0"/>
                    <a:pt x="0" y="141"/>
                    <a:pt x="0" y="315"/>
                  </a:cubicBezTo>
                  <a:cubicBezTo>
                    <a:pt x="0" y="398"/>
                    <a:pt x="32" y="477"/>
                    <a:pt x="90" y="536"/>
                  </a:cubicBezTo>
                  <a:cubicBezTo>
                    <a:pt x="99" y="545"/>
                    <a:pt x="113" y="545"/>
                    <a:pt x="121" y="536"/>
                  </a:cubicBezTo>
                  <a:cubicBezTo>
                    <a:pt x="130" y="528"/>
                    <a:pt x="130" y="514"/>
                    <a:pt x="121" y="505"/>
                  </a:cubicBezTo>
                  <a:cubicBezTo>
                    <a:pt x="71" y="454"/>
                    <a:pt x="44" y="386"/>
                    <a:pt x="44" y="315"/>
                  </a:cubicBezTo>
                  <a:cubicBezTo>
                    <a:pt x="44" y="165"/>
                    <a:pt x="165" y="44"/>
                    <a:pt x="315" y="44"/>
                  </a:cubicBezTo>
                  <a:cubicBezTo>
                    <a:pt x="465" y="44"/>
                    <a:pt x="586" y="165"/>
                    <a:pt x="586" y="315"/>
                  </a:cubicBezTo>
                  <a:cubicBezTo>
                    <a:pt x="586" y="387"/>
                    <a:pt x="558" y="455"/>
                    <a:pt x="507" y="507"/>
                  </a:cubicBezTo>
                  <a:cubicBezTo>
                    <a:pt x="498" y="515"/>
                    <a:pt x="498" y="529"/>
                    <a:pt x="507" y="538"/>
                  </a:cubicBezTo>
                  <a:cubicBezTo>
                    <a:pt x="511" y="542"/>
                    <a:pt x="517" y="544"/>
                    <a:pt x="522" y="544"/>
                  </a:cubicBezTo>
                  <a:cubicBezTo>
                    <a:pt x="528" y="544"/>
                    <a:pt x="534" y="542"/>
                    <a:pt x="538" y="53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sp>
        <p:nvSpPr>
          <p:cNvPr id="24" name="Oval 23"/>
          <p:cNvSpPr/>
          <p:nvPr/>
        </p:nvSpPr>
        <p:spPr>
          <a:xfrm>
            <a:off x="2081323" y="1603672"/>
            <a:ext cx="4162646" cy="2584509"/>
          </a:xfrm>
          <a:prstGeom prst="ellipse">
            <a:avLst/>
          </a:prstGeom>
          <a:noFill/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endParaRPr lang="ru-RU" sz="900" dirty="0" err="1">
              <a:solidFill>
                <a:srgbClr val="FFFFFF"/>
              </a:solidFill>
            </a:endParaRPr>
          </a:p>
        </p:txBody>
      </p:sp>
      <p:sp>
        <p:nvSpPr>
          <p:cNvPr id="26" name="Oval 25"/>
          <p:cNvSpPr/>
          <p:nvPr/>
        </p:nvSpPr>
        <p:spPr>
          <a:xfrm>
            <a:off x="877749" y="1603672"/>
            <a:ext cx="6569797" cy="3110984"/>
          </a:xfrm>
          <a:prstGeom prst="ellipse">
            <a:avLst/>
          </a:prstGeom>
          <a:noFill/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endParaRPr lang="ru-RU" sz="900" dirty="0" err="1">
              <a:solidFill>
                <a:srgbClr val="FFFFFF"/>
              </a:solidFill>
            </a:endParaRPr>
          </a:p>
        </p:txBody>
      </p:sp>
      <p:sp>
        <p:nvSpPr>
          <p:cNvPr id="27" name="Rectangle 26"/>
          <p:cNvSpPr/>
          <p:nvPr/>
        </p:nvSpPr>
        <p:spPr>
          <a:xfrm>
            <a:off x="2916149" y="4601550"/>
            <a:ext cx="2492993" cy="263239"/>
          </a:xfrm>
          <a:prstGeom prst="rect">
            <a:avLst/>
          </a:prstGeom>
          <a:solidFill>
            <a:srgbClr val="9A9A9A"/>
          </a:solidFill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900" dirty="0">
                <a:solidFill>
                  <a:srgbClr val="FFFFFF"/>
                </a:solidFill>
              </a:rPr>
              <a:t>Внешние элементы: прочие технологии цифровой экономики</a:t>
            </a:r>
          </a:p>
        </p:txBody>
      </p:sp>
      <p:grpSp>
        <p:nvGrpSpPr>
          <p:cNvPr id="28" name="bcgIcons_TouchScreen">
            <a:extLst>
              <a:ext uri="{FF2B5EF4-FFF2-40B4-BE49-F238E27FC236}">
                <a16:creationId xmlns:a16="http://schemas.microsoft.com/office/drawing/2014/main" xmlns="" id="{0BA6E92D-8520-4771-8F39-59C7C95C654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617666" y="2130407"/>
            <a:ext cx="431777" cy="432310"/>
            <a:chOff x="1682" y="0"/>
            <a:chExt cx="4316" cy="4320"/>
          </a:xfrm>
        </p:grpSpPr>
        <p:sp>
          <p:nvSpPr>
            <p:cNvPr id="29" name="AutoShape 8">
              <a:extLst>
                <a:ext uri="{FF2B5EF4-FFF2-40B4-BE49-F238E27FC236}">
                  <a16:creationId xmlns:a16="http://schemas.microsoft.com/office/drawing/2014/main" xmlns="" id="{BC193A37-7BA5-4D87-BAEB-BF584C817E8C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0" name="Freeform 10">
              <a:extLst>
                <a:ext uri="{FF2B5EF4-FFF2-40B4-BE49-F238E27FC236}">
                  <a16:creationId xmlns:a16="http://schemas.microsoft.com/office/drawing/2014/main" xmlns="" id="{D5F7A5A8-A90F-481B-B800-A0BADA11ABF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82" y="976"/>
              <a:ext cx="3456" cy="2966"/>
            </a:xfrm>
            <a:custGeom>
              <a:avLst/>
              <a:gdLst>
                <a:gd name="T0" fmla="*/ 1356 w 1845"/>
                <a:gd name="T1" fmla="*/ 0 h 1582"/>
                <a:gd name="T2" fmla="*/ 23 w 1845"/>
                <a:gd name="T3" fmla="*/ 0 h 1582"/>
                <a:gd name="T4" fmla="*/ 0 w 1845"/>
                <a:gd name="T5" fmla="*/ 20 h 1582"/>
                <a:gd name="T6" fmla="*/ 0 w 1845"/>
                <a:gd name="T7" fmla="*/ 830 h 1582"/>
                <a:gd name="T8" fmla="*/ 23 w 1845"/>
                <a:gd name="T9" fmla="*/ 850 h 1582"/>
                <a:gd name="T10" fmla="*/ 847 w 1845"/>
                <a:gd name="T11" fmla="*/ 850 h 1582"/>
                <a:gd name="T12" fmla="*/ 583 w 1845"/>
                <a:gd name="T13" fmla="*/ 424 h 1582"/>
                <a:gd name="T14" fmla="*/ 569 w 1845"/>
                <a:gd name="T15" fmla="*/ 340 h 1582"/>
                <a:gd name="T16" fmla="*/ 618 w 1845"/>
                <a:gd name="T17" fmla="*/ 271 h 1582"/>
                <a:gd name="T18" fmla="*/ 772 w 1845"/>
                <a:gd name="T19" fmla="*/ 307 h 1582"/>
                <a:gd name="T20" fmla="*/ 919 w 1845"/>
                <a:gd name="T21" fmla="*/ 544 h 1582"/>
                <a:gd name="T22" fmla="*/ 964 w 1845"/>
                <a:gd name="T23" fmla="*/ 489 h 1582"/>
                <a:gd name="T24" fmla="*/ 1049 w 1845"/>
                <a:gd name="T25" fmla="*/ 475 h 1582"/>
                <a:gd name="T26" fmla="*/ 1097 w 1845"/>
                <a:gd name="T27" fmla="*/ 500 h 1582"/>
                <a:gd name="T28" fmla="*/ 1144 w 1845"/>
                <a:gd name="T29" fmla="*/ 440 h 1582"/>
                <a:gd name="T30" fmla="*/ 1275 w 1845"/>
                <a:gd name="T31" fmla="*/ 449 h 1582"/>
                <a:gd name="T32" fmla="*/ 1322 w 1845"/>
                <a:gd name="T33" fmla="*/ 388 h 1582"/>
                <a:gd name="T34" fmla="*/ 1378 w 1845"/>
                <a:gd name="T35" fmla="*/ 371 h 1582"/>
                <a:gd name="T36" fmla="*/ 1378 w 1845"/>
                <a:gd name="T37" fmla="*/ 20 h 1582"/>
                <a:gd name="T38" fmla="*/ 1356 w 1845"/>
                <a:gd name="T39" fmla="*/ 0 h 1582"/>
                <a:gd name="T40" fmla="*/ 859 w 1845"/>
                <a:gd name="T41" fmla="*/ 375 h 1582"/>
                <a:gd name="T42" fmla="*/ 804 w 1845"/>
                <a:gd name="T43" fmla="*/ 287 h 1582"/>
                <a:gd name="T44" fmla="*/ 598 w 1845"/>
                <a:gd name="T45" fmla="*/ 239 h 1582"/>
                <a:gd name="T46" fmla="*/ 550 w 1845"/>
                <a:gd name="T47" fmla="*/ 445 h 1582"/>
                <a:gd name="T48" fmla="*/ 607 w 1845"/>
                <a:gd name="T49" fmla="*/ 535 h 1582"/>
                <a:gd name="T50" fmla="*/ 474 w 1845"/>
                <a:gd name="T51" fmla="*/ 449 h 1582"/>
                <a:gd name="T52" fmla="*/ 525 w 1845"/>
                <a:gd name="T53" fmla="*/ 149 h 1582"/>
                <a:gd name="T54" fmla="*/ 825 w 1845"/>
                <a:gd name="T55" fmla="*/ 200 h 1582"/>
                <a:gd name="T56" fmla="*/ 859 w 1845"/>
                <a:gd name="T57" fmla="*/ 375 h 1582"/>
                <a:gd name="T58" fmla="*/ 1840 w 1845"/>
                <a:gd name="T59" fmla="*/ 1239 h 1582"/>
                <a:gd name="T60" fmla="*/ 1833 w 1845"/>
                <a:gd name="T61" fmla="*/ 1267 h 1582"/>
                <a:gd name="T62" fmla="*/ 1336 w 1845"/>
                <a:gd name="T63" fmla="*/ 1576 h 1582"/>
                <a:gd name="T64" fmla="*/ 1308 w 1845"/>
                <a:gd name="T65" fmla="*/ 1570 h 1582"/>
                <a:gd name="T66" fmla="*/ 1153 w 1845"/>
                <a:gd name="T67" fmla="*/ 1321 h 1582"/>
                <a:gd name="T68" fmla="*/ 1160 w 1845"/>
                <a:gd name="T69" fmla="*/ 1294 h 1582"/>
                <a:gd name="T70" fmla="*/ 1657 w 1845"/>
                <a:gd name="T71" fmla="*/ 984 h 1582"/>
                <a:gd name="T72" fmla="*/ 1685 w 1845"/>
                <a:gd name="T73" fmla="*/ 991 h 1582"/>
                <a:gd name="T74" fmla="*/ 1840 w 1845"/>
                <a:gd name="T75" fmla="*/ 1239 h 158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845" h="1582">
                  <a:moveTo>
                    <a:pt x="1356" y="0"/>
                  </a:moveTo>
                  <a:cubicBezTo>
                    <a:pt x="23" y="0"/>
                    <a:pt x="23" y="0"/>
                    <a:pt x="23" y="0"/>
                  </a:cubicBezTo>
                  <a:cubicBezTo>
                    <a:pt x="10" y="0"/>
                    <a:pt x="0" y="9"/>
                    <a:pt x="0" y="20"/>
                  </a:cubicBezTo>
                  <a:cubicBezTo>
                    <a:pt x="0" y="830"/>
                    <a:pt x="0" y="830"/>
                    <a:pt x="0" y="830"/>
                  </a:cubicBezTo>
                  <a:cubicBezTo>
                    <a:pt x="0" y="841"/>
                    <a:pt x="10" y="850"/>
                    <a:pt x="23" y="850"/>
                  </a:cubicBezTo>
                  <a:cubicBezTo>
                    <a:pt x="847" y="850"/>
                    <a:pt x="847" y="850"/>
                    <a:pt x="847" y="850"/>
                  </a:cubicBezTo>
                  <a:cubicBezTo>
                    <a:pt x="583" y="424"/>
                    <a:pt x="583" y="424"/>
                    <a:pt x="583" y="424"/>
                  </a:cubicBezTo>
                  <a:cubicBezTo>
                    <a:pt x="567" y="399"/>
                    <a:pt x="562" y="369"/>
                    <a:pt x="569" y="340"/>
                  </a:cubicBezTo>
                  <a:cubicBezTo>
                    <a:pt x="575" y="311"/>
                    <a:pt x="593" y="287"/>
                    <a:pt x="618" y="271"/>
                  </a:cubicBezTo>
                  <a:cubicBezTo>
                    <a:pt x="670" y="239"/>
                    <a:pt x="739" y="255"/>
                    <a:pt x="772" y="307"/>
                  </a:cubicBezTo>
                  <a:cubicBezTo>
                    <a:pt x="919" y="544"/>
                    <a:pt x="919" y="544"/>
                    <a:pt x="919" y="544"/>
                  </a:cubicBezTo>
                  <a:cubicBezTo>
                    <a:pt x="928" y="521"/>
                    <a:pt x="944" y="502"/>
                    <a:pt x="964" y="489"/>
                  </a:cubicBezTo>
                  <a:cubicBezTo>
                    <a:pt x="990" y="474"/>
                    <a:pt x="1020" y="469"/>
                    <a:pt x="1049" y="475"/>
                  </a:cubicBezTo>
                  <a:cubicBezTo>
                    <a:pt x="1067" y="480"/>
                    <a:pt x="1083" y="488"/>
                    <a:pt x="1097" y="500"/>
                  </a:cubicBezTo>
                  <a:cubicBezTo>
                    <a:pt x="1105" y="476"/>
                    <a:pt x="1121" y="454"/>
                    <a:pt x="1144" y="440"/>
                  </a:cubicBezTo>
                  <a:cubicBezTo>
                    <a:pt x="1186" y="414"/>
                    <a:pt x="1239" y="419"/>
                    <a:pt x="1275" y="449"/>
                  </a:cubicBezTo>
                  <a:cubicBezTo>
                    <a:pt x="1282" y="424"/>
                    <a:pt x="1298" y="402"/>
                    <a:pt x="1322" y="388"/>
                  </a:cubicBezTo>
                  <a:cubicBezTo>
                    <a:pt x="1339" y="377"/>
                    <a:pt x="1359" y="371"/>
                    <a:pt x="1378" y="371"/>
                  </a:cubicBezTo>
                  <a:cubicBezTo>
                    <a:pt x="1378" y="20"/>
                    <a:pt x="1378" y="20"/>
                    <a:pt x="1378" y="20"/>
                  </a:cubicBezTo>
                  <a:cubicBezTo>
                    <a:pt x="1378" y="9"/>
                    <a:pt x="1368" y="0"/>
                    <a:pt x="1356" y="0"/>
                  </a:cubicBezTo>
                  <a:close/>
                  <a:moveTo>
                    <a:pt x="859" y="375"/>
                  </a:moveTo>
                  <a:cubicBezTo>
                    <a:pt x="804" y="287"/>
                    <a:pt x="804" y="287"/>
                    <a:pt x="804" y="287"/>
                  </a:cubicBezTo>
                  <a:cubicBezTo>
                    <a:pt x="761" y="217"/>
                    <a:pt x="668" y="195"/>
                    <a:pt x="598" y="239"/>
                  </a:cubicBezTo>
                  <a:cubicBezTo>
                    <a:pt x="528" y="282"/>
                    <a:pt x="507" y="375"/>
                    <a:pt x="550" y="445"/>
                  </a:cubicBezTo>
                  <a:cubicBezTo>
                    <a:pt x="607" y="535"/>
                    <a:pt x="607" y="535"/>
                    <a:pt x="607" y="535"/>
                  </a:cubicBezTo>
                  <a:cubicBezTo>
                    <a:pt x="555" y="525"/>
                    <a:pt x="507" y="496"/>
                    <a:pt x="474" y="449"/>
                  </a:cubicBezTo>
                  <a:cubicBezTo>
                    <a:pt x="405" y="352"/>
                    <a:pt x="428" y="218"/>
                    <a:pt x="525" y="149"/>
                  </a:cubicBezTo>
                  <a:cubicBezTo>
                    <a:pt x="622" y="80"/>
                    <a:pt x="756" y="103"/>
                    <a:pt x="825" y="200"/>
                  </a:cubicBezTo>
                  <a:cubicBezTo>
                    <a:pt x="863" y="253"/>
                    <a:pt x="873" y="316"/>
                    <a:pt x="859" y="375"/>
                  </a:cubicBezTo>
                  <a:close/>
                  <a:moveTo>
                    <a:pt x="1840" y="1239"/>
                  </a:moveTo>
                  <a:cubicBezTo>
                    <a:pt x="1845" y="1249"/>
                    <a:pt x="1842" y="1261"/>
                    <a:pt x="1833" y="1267"/>
                  </a:cubicBezTo>
                  <a:cubicBezTo>
                    <a:pt x="1336" y="1576"/>
                    <a:pt x="1336" y="1576"/>
                    <a:pt x="1336" y="1576"/>
                  </a:cubicBezTo>
                  <a:cubicBezTo>
                    <a:pt x="1326" y="1582"/>
                    <a:pt x="1314" y="1579"/>
                    <a:pt x="1308" y="1570"/>
                  </a:cubicBezTo>
                  <a:cubicBezTo>
                    <a:pt x="1153" y="1321"/>
                    <a:pt x="1153" y="1321"/>
                    <a:pt x="1153" y="1321"/>
                  </a:cubicBezTo>
                  <a:cubicBezTo>
                    <a:pt x="1147" y="1312"/>
                    <a:pt x="1150" y="1299"/>
                    <a:pt x="1160" y="1294"/>
                  </a:cubicBezTo>
                  <a:cubicBezTo>
                    <a:pt x="1657" y="984"/>
                    <a:pt x="1657" y="984"/>
                    <a:pt x="1657" y="984"/>
                  </a:cubicBezTo>
                  <a:cubicBezTo>
                    <a:pt x="1667" y="978"/>
                    <a:pt x="1679" y="981"/>
                    <a:pt x="1685" y="991"/>
                  </a:cubicBezTo>
                  <a:lnTo>
                    <a:pt x="1840" y="1239"/>
                  </a:lnTo>
                  <a:close/>
                </a:path>
              </a:pathLst>
            </a:custGeom>
            <a:solidFill>
              <a:srgbClr val="9A9A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>
                <a:solidFill>
                  <a:srgbClr val="6E6F73"/>
                </a:solidFill>
              </a:endParaRPr>
            </a:p>
          </p:txBody>
        </p:sp>
        <p:sp>
          <p:nvSpPr>
            <p:cNvPr id="31" name="Freeform 11">
              <a:extLst>
                <a:ext uri="{FF2B5EF4-FFF2-40B4-BE49-F238E27FC236}">
                  <a16:creationId xmlns:a16="http://schemas.microsoft.com/office/drawing/2014/main" xmlns="" id="{6CF78E66-9A55-454C-8187-B27624CDC8A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931" y="765"/>
              <a:ext cx="3498" cy="2775"/>
            </a:xfrm>
            <a:custGeom>
              <a:avLst/>
              <a:gdLst>
                <a:gd name="T0" fmla="*/ 878 w 1867"/>
                <a:gd name="T1" fmla="*/ 1205 h 1480"/>
                <a:gd name="T2" fmla="*/ 936 w 1867"/>
                <a:gd name="T3" fmla="*/ 1087 h 1480"/>
                <a:gd name="T4" fmla="*/ 1126 w 1867"/>
                <a:gd name="T5" fmla="*/ 1151 h 1480"/>
                <a:gd name="T6" fmla="*/ 780 w 1867"/>
                <a:gd name="T7" fmla="*/ 565 h 1480"/>
                <a:gd name="T8" fmla="*/ 802 w 1867"/>
                <a:gd name="T9" fmla="*/ 472 h 1480"/>
                <a:gd name="T10" fmla="*/ 1143 w 1867"/>
                <a:gd name="T11" fmla="*/ 893 h 1480"/>
                <a:gd name="T12" fmla="*/ 1148 w 1867"/>
                <a:gd name="T13" fmla="*/ 902 h 1480"/>
                <a:gd name="T14" fmla="*/ 1178 w 1867"/>
                <a:gd name="T15" fmla="*/ 909 h 1480"/>
                <a:gd name="T16" fmla="*/ 1180 w 1867"/>
                <a:gd name="T17" fmla="*/ 870 h 1480"/>
                <a:gd name="T18" fmla="*/ 1126 w 1867"/>
                <a:gd name="T19" fmla="*/ 783 h 1480"/>
                <a:gd name="T20" fmla="*/ 1148 w 1867"/>
                <a:gd name="T21" fmla="*/ 691 h 1480"/>
                <a:gd name="T22" fmla="*/ 1295 w 1867"/>
                <a:gd name="T23" fmla="*/ 800 h 1480"/>
                <a:gd name="T24" fmla="*/ 1308 w 1867"/>
                <a:gd name="T25" fmla="*/ 821 h 1480"/>
                <a:gd name="T26" fmla="*/ 1339 w 1867"/>
                <a:gd name="T27" fmla="*/ 828 h 1480"/>
                <a:gd name="T28" fmla="*/ 1308 w 1867"/>
                <a:gd name="T29" fmla="*/ 738 h 1480"/>
                <a:gd name="T30" fmla="*/ 1297 w 1867"/>
                <a:gd name="T31" fmla="*/ 683 h 1480"/>
                <a:gd name="T32" fmla="*/ 1420 w 1867"/>
                <a:gd name="T33" fmla="*/ 663 h 1480"/>
                <a:gd name="T34" fmla="*/ 1458 w 1867"/>
                <a:gd name="T35" fmla="*/ 724 h 1480"/>
                <a:gd name="T36" fmla="*/ 1503 w 1867"/>
                <a:gd name="T37" fmla="*/ 755 h 1480"/>
                <a:gd name="T38" fmla="*/ 1484 w 1867"/>
                <a:gd name="T39" fmla="*/ 682 h 1480"/>
                <a:gd name="T40" fmla="*/ 1505 w 1867"/>
                <a:gd name="T41" fmla="*/ 589 h 1480"/>
                <a:gd name="T42" fmla="*/ 1764 w 1867"/>
                <a:gd name="T43" fmla="*/ 877 h 1480"/>
                <a:gd name="T44" fmla="*/ 1857 w 1867"/>
                <a:gd name="T45" fmla="*/ 1113 h 1480"/>
                <a:gd name="T46" fmla="*/ 1698 w 1867"/>
                <a:gd name="T47" fmla="*/ 688 h 1480"/>
                <a:gd name="T48" fmla="*/ 1654 w 1867"/>
                <a:gd name="T49" fmla="*/ 0 h 1480"/>
                <a:gd name="T50" fmla="*/ 0 w 1867"/>
                <a:gd name="T51" fmla="*/ 44 h 1480"/>
                <a:gd name="T52" fmla="*/ 44 w 1867"/>
                <a:gd name="T53" fmla="*/ 1178 h 1480"/>
                <a:gd name="T54" fmla="*/ 856 w 1867"/>
                <a:gd name="T55" fmla="*/ 1243 h 1480"/>
                <a:gd name="T56" fmla="*/ 1284 w 1867"/>
                <a:gd name="T57" fmla="*/ 1437 h 1480"/>
                <a:gd name="T58" fmla="*/ 802 w 1867"/>
                <a:gd name="T59" fmla="*/ 1130 h 1480"/>
                <a:gd name="T60" fmla="*/ 48 w 1867"/>
                <a:gd name="T61" fmla="*/ 48 h 1480"/>
                <a:gd name="T62" fmla="*/ 1650 w 1867"/>
                <a:gd name="T63" fmla="*/ 611 h 1480"/>
                <a:gd name="T64" fmla="*/ 1482 w 1867"/>
                <a:gd name="T65" fmla="*/ 552 h 1480"/>
                <a:gd name="T66" fmla="*/ 1304 w 1867"/>
                <a:gd name="T67" fmla="*/ 604 h 1480"/>
                <a:gd name="T68" fmla="*/ 1209 w 1867"/>
                <a:gd name="T69" fmla="*/ 639 h 1480"/>
                <a:gd name="T70" fmla="*/ 1079 w 1867"/>
                <a:gd name="T71" fmla="*/ 708 h 1480"/>
                <a:gd name="T72" fmla="*/ 778 w 1867"/>
                <a:gd name="T73" fmla="*/ 435 h 1480"/>
                <a:gd name="T74" fmla="*/ 743 w 1867"/>
                <a:gd name="T75" fmla="*/ 588 h 1480"/>
                <a:gd name="T76" fmla="*/ 953 w 1867"/>
                <a:gd name="T77" fmla="*/ 1047 h 14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867" h="1480">
                  <a:moveTo>
                    <a:pt x="1284" y="1437"/>
                  </a:moveTo>
                  <a:cubicBezTo>
                    <a:pt x="878" y="1205"/>
                    <a:pt x="878" y="1205"/>
                    <a:pt x="878" y="1205"/>
                  </a:cubicBezTo>
                  <a:cubicBezTo>
                    <a:pt x="847" y="1187"/>
                    <a:pt x="836" y="1149"/>
                    <a:pt x="852" y="1118"/>
                  </a:cubicBezTo>
                  <a:cubicBezTo>
                    <a:pt x="867" y="1087"/>
                    <a:pt x="904" y="1074"/>
                    <a:pt x="936" y="1087"/>
                  </a:cubicBezTo>
                  <a:cubicBezTo>
                    <a:pt x="1101" y="1157"/>
                    <a:pt x="1101" y="1157"/>
                    <a:pt x="1101" y="1157"/>
                  </a:cubicBezTo>
                  <a:cubicBezTo>
                    <a:pt x="1110" y="1161"/>
                    <a:pt x="1120" y="1159"/>
                    <a:pt x="1126" y="1151"/>
                  </a:cubicBezTo>
                  <a:cubicBezTo>
                    <a:pt x="1133" y="1144"/>
                    <a:pt x="1133" y="1133"/>
                    <a:pt x="1128" y="1125"/>
                  </a:cubicBezTo>
                  <a:cubicBezTo>
                    <a:pt x="780" y="565"/>
                    <a:pt x="780" y="565"/>
                    <a:pt x="780" y="565"/>
                  </a:cubicBezTo>
                  <a:cubicBezTo>
                    <a:pt x="770" y="550"/>
                    <a:pt x="767" y="532"/>
                    <a:pt x="772" y="514"/>
                  </a:cubicBezTo>
                  <a:cubicBezTo>
                    <a:pt x="776" y="497"/>
                    <a:pt x="786" y="482"/>
                    <a:pt x="802" y="472"/>
                  </a:cubicBezTo>
                  <a:cubicBezTo>
                    <a:pt x="833" y="453"/>
                    <a:pt x="875" y="462"/>
                    <a:pt x="894" y="494"/>
                  </a:cubicBezTo>
                  <a:cubicBezTo>
                    <a:pt x="1143" y="893"/>
                    <a:pt x="1143" y="893"/>
                    <a:pt x="1143" y="893"/>
                  </a:cubicBezTo>
                  <a:cubicBezTo>
                    <a:pt x="1143" y="893"/>
                    <a:pt x="1143" y="893"/>
                    <a:pt x="1143" y="893"/>
                  </a:cubicBezTo>
                  <a:cubicBezTo>
                    <a:pt x="1148" y="902"/>
                    <a:pt x="1148" y="902"/>
                    <a:pt x="1148" y="902"/>
                  </a:cubicBezTo>
                  <a:cubicBezTo>
                    <a:pt x="1152" y="909"/>
                    <a:pt x="1159" y="912"/>
                    <a:pt x="1167" y="912"/>
                  </a:cubicBezTo>
                  <a:cubicBezTo>
                    <a:pt x="1171" y="912"/>
                    <a:pt x="1175" y="911"/>
                    <a:pt x="1178" y="909"/>
                  </a:cubicBezTo>
                  <a:cubicBezTo>
                    <a:pt x="1189" y="903"/>
                    <a:pt x="1192" y="889"/>
                    <a:pt x="1185" y="879"/>
                  </a:cubicBezTo>
                  <a:cubicBezTo>
                    <a:pt x="1180" y="870"/>
                    <a:pt x="1180" y="870"/>
                    <a:pt x="1180" y="870"/>
                  </a:cubicBezTo>
                  <a:cubicBezTo>
                    <a:pt x="1180" y="870"/>
                    <a:pt x="1180" y="870"/>
                    <a:pt x="1180" y="870"/>
                  </a:cubicBezTo>
                  <a:cubicBezTo>
                    <a:pt x="1126" y="783"/>
                    <a:pt x="1126" y="783"/>
                    <a:pt x="1126" y="783"/>
                  </a:cubicBezTo>
                  <a:cubicBezTo>
                    <a:pt x="1117" y="768"/>
                    <a:pt x="1114" y="750"/>
                    <a:pt x="1118" y="733"/>
                  </a:cubicBezTo>
                  <a:cubicBezTo>
                    <a:pt x="1122" y="715"/>
                    <a:pt x="1132" y="700"/>
                    <a:pt x="1148" y="691"/>
                  </a:cubicBezTo>
                  <a:cubicBezTo>
                    <a:pt x="1179" y="671"/>
                    <a:pt x="1221" y="681"/>
                    <a:pt x="1240" y="712"/>
                  </a:cubicBezTo>
                  <a:cubicBezTo>
                    <a:pt x="1295" y="800"/>
                    <a:pt x="1295" y="800"/>
                    <a:pt x="1295" y="800"/>
                  </a:cubicBezTo>
                  <a:cubicBezTo>
                    <a:pt x="1295" y="800"/>
                    <a:pt x="1295" y="800"/>
                    <a:pt x="1295" y="800"/>
                  </a:cubicBezTo>
                  <a:cubicBezTo>
                    <a:pt x="1308" y="821"/>
                    <a:pt x="1308" y="821"/>
                    <a:pt x="1308" y="821"/>
                  </a:cubicBezTo>
                  <a:cubicBezTo>
                    <a:pt x="1312" y="828"/>
                    <a:pt x="1320" y="832"/>
                    <a:pt x="1327" y="832"/>
                  </a:cubicBezTo>
                  <a:cubicBezTo>
                    <a:pt x="1331" y="832"/>
                    <a:pt x="1335" y="831"/>
                    <a:pt x="1339" y="828"/>
                  </a:cubicBezTo>
                  <a:cubicBezTo>
                    <a:pt x="1349" y="822"/>
                    <a:pt x="1352" y="808"/>
                    <a:pt x="1346" y="798"/>
                  </a:cubicBezTo>
                  <a:cubicBezTo>
                    <a:pt x="1308" y="738"/>
                    <a:pt x="1308" y="738"/>
                    <a:pt x="1308" y="738"/>
                  </a:cubicBezTo>
                  <a:cubicBezTo>
                    <a:pt x="1306" y="734"/>
                    <a:pt x="1306" y="734"/>
                    <a:pt x="1306" y="734"/>
                  </a:cubicBezTo>
                  <a:cubicBezTo>
                    <a:pt x="1296" y="718"/>
                    <a:pt x="1293" y="700"/>
                    <a:pt x="1297" y="683"/>
                  </a:cubicBezTo>
                  <a:cubicBezTo>
                    <a:pt x="1301" y="665"/>
                    <a:pt x="1312" y="651"/>
                    <a:pt x="1327" y="641"/>
                  </a:cubicBezTo>
                  <a:cubicBezTo>
                    <a:pt x="1359" y="621"/>
                    <a:pt x="1400" y="631"/>
                    <a:pt x="1420" y="663"/>
                  </a:cubicBezTo>
                  <a:cubicBezTo>
                    <a:pt x="1458" y="724"/>
                    <a:pt x="1458" y="724"/>
                    <a:pt x="1458" y="724"/>
                  </a:cubicBezTo>
                  <a:cubicBezTo>
                    <a:pt x="1458" y="724"/>
                    <a:pt x="1458" y="724"/>
                    <a:pt x="1458" y="724"/>
                  </a:cubicBezTo>
                  <a:cubicBezTo>
                    <a:pt x="1473" y="748"/>
                    <a:pt x="1473" y="748"/>
                    <a:pt x="1473" y="748"/>
                  </a:cubicBezTo>
                  <a:cubicBezTo>
                    <a:pt x="1479" y="758"/>
                    <a:pt x="1493" y="761"/>
                    <a:pt x="1503" y="755"/>
                  </a:cubicBezTo>
                  <a:cubicBezTo>
                    <a:pt x="1513" y="748"/>
                    <a:pt x="1517" y="735"/>
                    <a:pt x="1510" y="724"/>
                  </a:cubicBezTo>
                  <a:cubicBezTo>
                    <a:pt x="1484" y="682"/>
                    <a:pt x="1484" y="682"/>
                    <a:pt x="1484" y="682"/>
                  </a:cubicBezTo>
                  <a:cubicBezTo>
                    <a:pt x="1474" y="666"/>
                    <a:pt x="1471" y="648"/>
                    <a:pt x="1475" y="631"/>
                  </a:cubicBezTo>
                  <a:cubicBezTo>
                    <a:pt x="1479" y="613"/>
                    <a:pt x="1490" y="598"/>
                    <a:pt x="1505" y="589"/>
                  </a:cubicBezTo>
                  <a:cubicBezTo>
                    <a:pt x="1537" y="569"/>
                    <a:pt x="1578" y="579"/>
                    <a:pt x="1598" y="611"/>
                  </a:cubicBezTo>
                  <a:cubicBezTo>
                    <a:pt x="1764" y="877"/>
                    <a:pt x="1764" y="877"/>
                    <a:pt x="1764" y="877"/>
                  </a:cubicBezTo>
                  <a:cubicBezTo>
                    <a:pt x="1780" y="903"/>
                    <a:pt x="1826" y="977"/>
                    <a:pt x="1813" y="1107"/>
                  </a:cubicBezTo>
                  <a:cubicBezTo>
                    <a:pt x="1828" y="1103"/>
                    <a:pt x="1844" y="1105"/>
                    <a:pt x="1857" y="1113"/>
                  </a:cubicBezTo>
                  <a:cubicBezTo>
                    <a:pt x="1867" y="1015"/>
                    <a:pt x="1849" y="930"/>
                    <a:pt x="1801" y="854"/>
                  </a:cubicBezTo>
                  <a:cubicBezTo>
                    <a:pt x="1698" y="688"/>
                    <a:pt x="1698" y="688"/>
                    <a:pt x="1698" y="688"/>
                  </a:cubicBezTo>
                  <a:cubicBezTo>
                    <a:pt x="1698" y="44"/>
                    <a:pt x="1698" y="44"/>
                    <a:pt x="1698" y="44"/>
                  </a:cubicBezTo>
                  <a:cubicBezTo>
                    <a:pt x="1698" y="20"/>
                    <a:pt x="1678" y="0"/>
                    <a:pt x="1654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20" y="0"/>
                    <a:pt x="0" y="20"/>
                    <a:pt x="0" y="44"/>
                  </a:cubicBezTo>
                  <a:cubicBezTo>
                    <a:pt x="0" y="1134"/>
                    <a:pt x="0" y="1134"/>
                    <a:pt x="0" y="1134"/>
                  </a:cubicBezTo>
                  <a:cubicBezTo>
                    <a:pt x="0" y="1158"/>
                    <a:pt x="20" y="1178"/>
                    <a:pt x="44" y="1178"/>
                  </a:cubicBezTo>
                  <a:cubicBezTo>
                    <a:pt x="805" y="1178"/>
                    <a:pt x="805" y="1178"/>
                    <a:pt x="805" y="1178"/>
                  </a:cubicBezTo>
                  <a:cubicBezTo>
                    <a:pt x="812" y="1205"/>
                    <a:pt x="830" y="1228"/>
                    <a:pt x="856" y="1243"/>
                  </a:cubicBezTo>
                  <a:cubicBezTo>
                    <a:pt x="1270" y="1480"/>
                    <a:pt x="1270" y="1480"/>
                    <a:pt x="1270" y="1480"/>
                  </a:cubicBezTo>
                  <a:cubicBezTo>
                    <a:pt x="1269" y="1465"/>
                    <a:pt x="1274" y="1449"/>
                    <a:pt x="1284" y="1437"/>
                  </a:cubicBezTo>
                  <a:close/>
                  <a:moveTo>
                    <a:pt x="812" y="1098"/>
                  </a:moveTo>
                  <a:cubicBezTo>
                    <a:pt x="807" y="1109"/>
                    <a:pt x="804" y="1119"/>
                    <a:pt x="802" y="1130"/>
                  </a:cubicBezTo>
                  <a:cubicBezTo>
                    <a:pt x="48" y="1130"/>
                    <a:pt x="48" y="1130"/>
                    <a:pt x="48" y="1130"/>
                  </a:cubicBezTo>
                  <a:cubicBezTo>
                    <a:pt x="48" y="48"/>
                    <a:pt x="48" y="48"/>
                    <a:pt x="48" y="48"/>
                  </a:cubicBezTo>
                  <a:cubicBezTo>
                    <a:pt x="1650" y="48"/>
                    <a:pt x="1650" y="48"/>
                    <a:pt x="1650" y="48"/>
                  </a:cubicBezTo>
                  <a:cubicBezTo>
                    <a:pt x="1650" y="611"/>
                    <a:pt x="1650" y="611"/>
                    <a:pt x="1650" y="611"/>
                  </a:cubicBezTo>
                  <a:cubicBezTo>
                    <a:pt x="1635" y="587"/>
                    <a:pt x="1635" y="587"/>
                    <a:pt x="1635" y="587"/>
                  </a:cubicBezTo>
                  <a:cubicBezTo>
                    <a:pt x="1603" y="535"/>
                    <a:pt x="1534" y="519"/>
                    <a:pt x="1482" y="552"/>
                  </a:cubicBezTo>
                  <a:cubicBezTo>
                    <a:pt x="1458" y="566"/>
                    <a:pt x="1442" y="588"/>
                    <a:pt x="1435" y="613"/>
                  </a:cubicBezTo>
                  <a:cubicBezTo>
                    <a:pt x="1399" y="583"/>
                    <a:pt x="1346" y="578"/>
                    <a:pt x="1304" y="604"/>
                  </a:cubicBezTo>
                  <a:cubicBezTo>
                    <a:pt x="1281" y="618"/>
                    <a:pt x="1265" y="640"/>
                    <a:pt x="1257" y="664"/>
                  </a:cubicBezTo>
                  <a:cubicBezTo>
                    <a:pt x="1243" y="652"/>
                    <a:pt x="1227" y="644"/>
                    <a:pt x="1209" y="639"/>
                  </a:cubicBezTo>
                  <a:cubicBezTo>
                    <a:pt x="1180" y="633"/>
                    <a:pt x="1150" y="638"/>
                    <a:pt x="1124" y="653"/>
                  </a:cubicBezTo>
                  <a:cubicBezTo>
                    <a:pt x="1104" y="666"/>
                    <a:pt x="1088" y="685"/>
                    <a:pt x="1079" y="708"/>
                  </a:cubicBezTo>
                  <a:cubicBezTo>
                    <a:pt x="932" y="471"/>
                    <a:pt x="932" y="471"/>
                    <a:pt x="932" y="471"/>
                  </a:cubicBezTo>
                  <a:cubicBezTo>
                    <a:pt x="899" y="419"/>
                    <a:pt x="830" y="403"/>
                    <a:pt x="778" y="435"/>
                  </a:cubicBezTo>
                  <a:cubicBezTo>
                    <a:pt x="753" y="451"/>
                    <a:pt x="735" y="475"/>
                    <a:pt x="729" y="504"/>
                  </a:cubicBezTo>
                  <a:cubicBezTo>
                    <a:pt x="722" y="533"/>
                    <a:pt x="727" y="563"/>
                    <a:pt x="743" y="588"/>
                  </a:cubicBezTo>
                  <a:cubicBezTo>
                    <a:pt x="1054" y="1090"/>
                    <a:pt x="1054" y="1090"/>
                    <a:pt x="1054" y="1090"/>
                  </a:cubicBezTo>
                  <a:cubicBezTo>
                    <a:pt x="953" y="1047"/>
                    <a:pt x="953" y="1047"/>
                    <a:pt x="953" y="1047"/>
                  </a:cubicBezTo>
                  <a:cubicBezTo>
                    <a:pt x="900" y="1024"/>
                    <a:pt x="838" y="1047"/>
                    <a:pt x="812" y="1098"/>
                  </a:cubicBez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solidFill>
                <a:srgbClr val="6E6F73"/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sp>
        <p:nvSpPr>
          <p:cNvPr id="25" name="Rectangle 24"/>
          <p:cNvSpPr/>
          <p:nvPr/>
        </p:nvSpPr>
        <p:spPr>
          <a:xfrm>
            <a:off x="3189767" y="1603672"/>
            <a:ext cx="1945758" cy="278235"/>
          </a:xfrm>
          <a:prstGeom prst="rect">
            <a:avLst/>
          </a:prstGeom>
          <a:solidFill>
            <a:srgbClr val="29BA74"/>
          </a:solidFill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900" dirty="0">
                <a:solidFill>
                  <a:srgbClr val="FFFFFF"/>
                </a:solidFill>
              </a:rPr>
              <a:t>"Орбита" </a:t>
            </a:r>
            <a:r>
              <a:rPr lang="ru-RU" sz="900" dirty="0" smtClean="0">
                <a:solidFill>
                  <a:srgbClr val="FFFFFF"/>
                </a:solidFill>
              </a:rPr>
              <a:t>инфокоммуникационной </a:t>
            </a:r>
            <a:r>
              <a:rPr lang="ru-RU" sz="900" dirty="0">
                <a:solidFill>
                  <a:srgbClr val="FFFFFF"/>
                </a:solidFill>
              </a:rPr>
              <a:t>отрасли</a:t>
            </a:r>
          </a:p>
        </p:txBody>
      </p:sp>
      <p:sp>
        <p:nvSpPr>
          <p:cNvPr id="34" name="Rectangle 33"/>
          <p:cNvSpPr/>
          <p:nvPr/>
        </p:nvSpPr>
        <p:spPr>
          <a:xfrm>
            <a:off x="3094074" y="4280148"/>
            <a:ext cx="2137145" cy="159281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900" dirty="0">
                <a:solidFill>
                  <a:srgbClr val="29BA74"/>
                </a:solidFill>
              </a:rPr>
              <a:t>Периметр телекоммуникационного регулирования</a:t>
            </a:r>
          </a:p>
        </p:txBody>
      </p:sp>
      <p:sp>
        <p:nvSpPr>
          <p:cNvPr id="36" name="Rectangle 35"/>
          <p:cNvSpPr/>
          <p:nvPr/>
        </p:nvSpPr>
        <p:spPr>
          <a:xfrm>
            <a:off x="1337626" y="2536306"/>
            <a:ext cx="991856" cy="18956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en-US" sz="900" dirty="0">
                <a:solidFill>
                  <a:srgbClr val="575757"/>
                </a:solidFill>
              </a:rPr>
              <a:t>LegalTech</a:t>
            </a:r>
            <a:endParaRPr lang="ru-RU" sz="900" dirty="0" err="1">
              <a:solidFill>
                <a:srgbClr val="575757"/>
              </a:solidFill>
            </a:endParaRPr>
          </a:p>
        </p:txBody>
      </p:sp>
      <p:grpSp>
        <p:nvGrpSpPr>
          <p:cNvPr id="37" name="bcgIcons_Currency">
            <a:extLst>
              <a:ext uri="{FF2B5EF4-FFF2-40B4-BE49-F238E27FC236}">
                <a16:creationId xmlns:a16="http://schemas.microsoft.com/office/drawing/2014/main" xmlns="" id="{D53A751B-2276-4151-8B76-28B396AE936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77760" y="2913627"/>
            <a:ext cx="431777" cy="432310"/>
            <a:chOff x="1682" y="0"/>
            <a:chExt cx="4316" cy="4320"/>
          </a:xfrm>
        </p:grpSpPr>
        <p:sp>
          <p:nvSpPr>
            <p:cNvPr id="38" name="AutoShape 9">
              <a:extLst>
                <a:ext uri="{FF2B5EF4-FFF2-40B4-BE49-F238E27FC236}">
                  <a16:creationId xmlns:a16="http://schemas.microsoft.com/office/drawing/2014/main" xmlns="" id="{E0D198FC-C2F2-4FED-9034-D826A21FCD8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39" name="Freeform 11">
              <a:extLst>
                <a:ext uri="{FF2B5EF4-FFF2-40B4-BE49-F238E27FC236}">
                  <a16:creationId xmlns:a16="http://schemas.microsoft.com/office/drawing/2014/main" xmlns="" id="{BF86BFAF-8981-4474-850E-2A9237D57EB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854" y="1211"/>
              <a:ext cx="3962" cy="2441"/>
            </a:xfrm>
            <a:custGeom>
              <a:avLst/>
              <a:gdLst>
                <a:gd name="T0" fmla="*/ 154 w 2115"/>
                <a:gd name="T1" fmla="*/ 956 h 1302"/>
                <a:gd name="T2" fmla="*/ 144 w 2115"/>
                <a:gd name="T3" fmla="*/ 334 h 1302"/>
                <a:gd name="T4" fmla="*/ 573 w 2115"/>
                <a:gd name="T5" fmla="*/ 324 h 1302"/>
                <a:gd name="T6" fmla="*/ 573 w 2115"/>
                <a:gd name="T7" fmla="*/ 1059 h 1302"/>
                <a:gd name="T8" fmla="*/ 44 w 2115"/>
                <a:gd name="T9" fmla="*/ 220 h 1302"/>
                <a:gd name="T10" fmla="*/ 573 w 2115"/>
                <a:gd name="T11" fmla="*/ 180 h 1302"/>
                <a:gd name="T12" fmla="*/ 22 w 2115"/>
                <a:gd name="T13" fmla="*/ 176 h 1302"/>
                <a:gd name="T14" fmla="*/ 0 w 2115"/>
                <a:gd name="T15" fmla="*/ 1081 h 1302"/>
                <a:gd name="T16" fmla="*/ 573 w 2115"/>
                <a:gd name="T17" fmla="*/ 1103 h 1302"/>
                <a:gd name="T18" fmla="*/ 660 w 2115"/>
                <a:gd name="T19" fmla="*/ 89 h 1302"/>
                <a:gd name="T20" fmla="*/ 94 w 2115"/>
                <a:gd name="T21" fmla="*/ 111 h 1302"/>
                <a:gd name="T22" fmla="*/ 618 w 2115"/>
                <a:gd name="T23" fmla="*/ 133 h 1302"/>
                <a:gd name="T24" fmla="*/ 745 w 2115"/>
                <a:gd name="T25" fmla="*/ 0 h 1302"/>
                <a:gd name="T26" fmla="*/ 179 w 2115"/>
                <a:gd name="T27" fmla="*/ 22 h 1302"/>
                <a:gd name="T28" fmla="*/ 703 w 2115"/>
                <a:gd name="T29" fmla="*/ 44 h 1302"/>
                <a:gd name="T30" fmla="*/ 1882 w 2115"/>
                <a:gd name="T31" fmla="*/ 948 h 1302"/>
                <a:gd name="T32" fmla="*/ 1760 w 2115"/>
                <a:gd name="T33" fmla="*/ 1286 h 1302"/>
                <a:gd name="T34" fmla="*/ 1452 w 2115"/>
                <a:gd name="T35" fmla="*/ 1286 h 1302"/>
                <a:gd name="T36" fmla="*/ 1329 w 2115"/>
                <a:gd name="T37" fmla="*/ 1168 h 1302"/>
                <a:gd name="T38" fmla="*/ 1452 w 2115"/>
                <a:gd name="T39" fmla="*/ 830 h 1302"/>
                <a:gd name="T40" fmla="*/ 1760 w 2115"/>
                <a:gd name="T41" fmla="*/ 830 h 1302"/>
                <a:gd name="T42" fmla="*/ 1882 w 2115"/>
                <a:gd name="T43" fmla="*/ 948 h 1302"/>
                <a:gd name="T44" fmla="*/ 1750 w 2115"/>
                <a:gd name="T45" fmla="*/ 873 h 1302"/>
                <a:gd name="T46" fmla="*/ 1462 w 2115"/>
                <a:gd name="T47" fmla="*/ 873 h 1302"/>
                <a:gd name="T48" fmla="*/ 1373 w 2115"/>
                <a:gd name="T49" fmla="*/ 1168 h 1302"/>
                <a:gd name="T50" fmla="*/ 1606 w 2115"/>
                <a:gd name="T51" fmla="*/ 1258 h 1302"/>
                <a:gd name="T52" fmla="*/ 1838 w 2115"/>
                <a:gd name="T53" fmla="*/ 1168 h 1302"/>
                <a:gd name="T54" fmla="*/ 1728 w 2115"/>
                <a:gd name="T55" fmla="*/ 325 h 1302"/>
                <a:gd name="T56" fmla="*/ 1772 w 2115"/>
                <a:gd name="T57" fmla="*/ 198 h 1302"/>
                <a:gd name="T58" fmla="*/ 1246 w 2115"/>
                <a:gd name="T59" fmla="*/ 176 h 1302"/>
                <a:gd name="T60" fmla="*/ 1209 w 2115"/>
                <a:gd name="T61" fmla="*/ 220 h 1302"/>
                <a:gd name="T62" fmla="*/ 1728 w 2115"/>
                <a:gd name="T63" fmla="*/ 325 h 1302"/>
                <a:gd name="T64" fmla="*/ 1838 w 2115"/>
                <a:gd name="T65" fmla="*/ 318 h 1302"/>
                <a:gd name="T66" fmla="*/ 1866 w 2115"/>
                <a:gd name="T67" fmla="*/ 111 h 1302"/>
                <a:gd name="T68" fmla="*/ 1330 w 2115"/>
                <a:gd name="T69" fmla="*/ 89 h 1302"/>
                <a:gd name="T70" fmla="*/ 1822 w 2115"/>
                <a:gd name="T71" fmla="*/ 133 h 1302"/>
                <a:gd name="T72" fmla="*/ 1907 w 2115"/>
                <a:gd name="T73" fmla="*/ 321 h 1302"/>
                <a:gd name="T74" fmla="*/ 1951 w 2115"/>
                <a:gd name="T75" fmla="*/ 22 h 1302"/>
                <a:gd name="T76" fmla="*/ 1415 w 2115"/>
                <a:gd name="T77" fmla="*/ 0 h 1302"/>
                <a:gd name="T78" fmla="*/ 1907 w 2115"/>
                <a:gd name="T79" fmla="*/ 44 h 1302"/>
                <a:gd name="T80" fmla="*/ 1285 w 2115"/>
                <a:gd name="T81" fmla="*/ 1059 h 1302"/>
                <a:gd name="T82" fmla="*/ 1209 w 2115"/>
                <a:gd name="T83" fmla="*/ 1103 h 1302"/>
                <a:gd name="T84" fmla="*/ 1285 w 2115"/>
                <a:gd name="T85" fmla="*/ 1059 h 1302"/>
                <a:gd name="T86" fmla="*/ 1441 w 2115"/>
                <a:gd name="T87" fmla="*/ 787 h 1302"/>
                <a:gd name="T88" fmla="*/ 1518 w 2115"/>
                <a:gd name="T89" fmla="*/ 496 h 1302"/>
                <a:gd name="T90" fmla="*/ 1629 w 2115"/>
                <a:gd name="T91" fmla="*/ 334 h 1302"/>
                <a:gd name="T92" fmla="*/ 1209 w 2115"/>
                <a:gd name="T93" fmla="*/ 324 h 1302"/>
                <a:gd name="T94" fmla="*/ 1285 w 2115"/>
                <a:gd name="T95" fmla="*/ 956 h 1302"/>
                <a:gd name="T96" fmla="*/ 2057 w 2115"/>
                <a:gd name="T97" fmla="*/ 403 h 1302"/>
                <a:gd name="T98" fmla="*/ 1838 w 2115"/>
                <a:gd name="T99" fmla="*/ 362 h 1302"/>
                <a:gd name="T100" fmla="*/ 1562 w 2115"/>
                <a:gd name="T101" fmla="*/ 496 h 1302"/>
                <a:gd name="T102" fmla="*/ 1606 w 2115"/>
                <a:gd name="T103" fmla="*/ 770 h 1302"/>
                <a:gd name="T104" fmla="*/ 1606 w 2115"/>
                <a:gd name="T105" fmla="*/ 496 h 1302"/>
                <a:gd name="T106" fmla="*/ 1838 w 2115"/>
                <a:gd name="T107" fmla="*/ 406 h 1302"/>
                <a:gd name="T108" fmla="*/ 2071 w 2115"/>
                <a:gd name="T109" fmla="*/ 496 h 1302"/>
                <a:gd name="T110" fmla="*/ 1982 w 2115"/>
                <a:gd name="T111" fmla="*/ 1130 h 1302"/>
                <a:gd name="T112" fmla="*/ 1926 w 2115"/>
                <a:gd name="T113" fmla="*/ 1168 h 1302"/>
                <a:gd name="T114" fmla="*/ 1992 w 2115"/>
                <a:gd name="T115" fmla="*/ 1173 h 1302"/>
                <a:gd name="T116" fmla="*/ 2115 w 2115"/>
                <a:gd name="T117" fmla="*/ 496 h 13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2115" h="1302">
                  <a:moveTo>
                    <a:pt x="573" y="956"/>
                  </a:moveTo>
                  <a:cubicBezTo>
                    <a:pt x="154" y="956"/>
                    <a:pt x="154" y="956"/>
                    <a:pt x="154" y="956"/>
                  </a:cubicBezTo>
                  <a:cubicBezTo>
                    <a:pt x="148" y="956"/>
                    <a:pt x="144" y="951"/>
                    <a:pt x="144" y="946"/>
                  </a:cubicBezTo>
                  <a:cubicBezTo>
                    <a:pt x="144" y="334"/>
                    <a:pt x="144" y="334"/>
                    <a:pt x="144" y="334"/>
                  </a:cubicBezTo>
                  <a:cubicBezTo>
                    <a:pt x="144" y="328"/>
                    <a:pt x="148" y="324"/>
                    <a:pt x="154" y="324"/>
                  </a:cubicBezTo>
                  <a:cubicBezTo>
                    <a:pt x="573" y="324"/>
                    <a:pt x="573" y="324"/>
                    <a:pt x="573" y="324"/>
                  </a:cubicBezTo>
                  <a:lnTo>
                    <a:pt x="573" y="956"/>
                  </a:lnTo>
                  <a:close/>
                  <a:moveTo>
                    <a:pt x="573" y="1059"/>
                  </a:moveTo>
                  <a:cubicBezTo>
                    <a:pt x="44" y="1059"/>
                    <a:pt x="44" y="1059"/>
                    <a:pt x="44" y="1059"/>
                  </a:cubicBezTo>
                  <a:cubicBezTo>
                    <a:pt x="44" y="220"/>
                    <a:pt x="44" y="220"/>
                    <a:pt x="44" y="220"/>
                  </a:cubicBezTo>
                  <a:cubicBezTo>
                    <a:pt x="573" y="220"/>
                    <a:pt x="573" y="220"/>
                    <a:pt x="573" y="220"/>
                  </a:cubicBezTo>
                  <a:cubicBezTo>
                    <a:pt x="573" y="180"/>
                    <a:pt x="573" y="180"/>
                    <a:pt x="573" y="180"/>
                  </a:cubicBezTo>
                  <a:cubicBezTo>
                    <a:pt x="576" y="176"/>
                    <a:pt x="576" y="176"/>
                    <a:pt x="576" y="176"/>
                  </a:cubicBezTo>
                  <a:cubicBezTo>
                    <a:pt x="22" y="176"/>
                    <a:pt x="22" y="176"/>
                    <a:pt x="22" y="176"/>
                  </a:cubicBezTo>
                  <a:cubicBezTo>
                    <a:pt x="10" y="176"/>
                    <a:pt x="0" y="186"/>
                    <a:pt x="0" y="198"/>
                  </a:cubicBezTo>
                  <a:cubicBezTo>
                    <a:pt x="0" y="1081"/>
                    <a:pt x="0" y="1081"/>
                    <a:pt x="0" y="1081"/>
                  </a:cubicBezTo>
                  <a:cubicBezTo>
                    <a:pt x="0" y="1093"/>
                    <a:pt x="10" y="1103"/>
                    <a:pt x="22" y="1103"/>
                  </a:cubicBezTo>
                  <a:cubicBezTo>
                    <a:pt x="573" y="1103"/>
                    <a:pt x="573" y="1103"/>
                    <a:pt x="573" y="1103"/>
                  </a:cubicBezTo>
                  <a:lnTo>
                    <a:pt x="573" y="1059"/>
                  </a:lnTo>
                  <a:close/>
                  <a:moveTo>
                    <a:pt x="660" y="89"/>
                  </a:moveTo>
                  <a:cubicBezTo>
                    <a:pt x="116" y="89"/>
                    <a:pt x="116" y="89"/>
                    <a:pt x="116" y="89"/>
                  </a:cubicBezTo>
                  <a:cubicBezTo>
                    <a:pt x="104" y="89"/>
                    <a:pt x="94" y="99"/>
                    <a:pt x="94" y="111"/>
                  </a:cubicBezTo>
                  <a:cubicBezTo>
                    <a:pt x="94" y="123"/>
                    <a:pt x="104" y="133"/>
                    <a:pt x="116" y="133"/>
                  </a:cubicBezTo>
                  <a:cubicBezTo>
                    <a:pt x="618" y="133"/>
                    <a:pt x="618" y="133"/>
                    <a:pt x="618" y="133"/>
                  </a:cubicBezTo>
                  <a:lnTo>
                    <a:pt x="660" y="89"/>
                  </a:lnTo>
                  <a:close/>
                  <a:moveTo>
                    <a:pt x="745" y="0"/>
                  </a:moveTo>
                  <a:cubicBezTo>
                    <a:pt x="201" y="0"/>
                    <a:pt x="201" y="0"/>
                    <a:pt x="201" y="0"/>
                  </a:cubicBezTo>
                  <a:cubicBezTo>
                    <a:pt x="189" y="0"/>
                    <a:pt x="179" y="10"/>
                    <a:pt x="179" y="22"/>
                  </a:cubicBezTo>
                  <a:cubicBezTo>
                    <a:pt x="179" y="35"/>
                    <a:pt x="189" y="44"/>
                    <a:pt x="201" y="44"/>
                  </a:cubicBezTo>
                  <a:cubicBezTo>
                    <a:pt x="703" y="44"/>
                    <a:pt x="703" y="44"/>
                    <a:pt x="703" y="44"/>
                  </a:cubicBezTo>
                  <a:lnTo>
                    <a:pt x="745" y="0"/>
                  </a:lnTo>
                  <a:close/>
                  <a:moveTo>
                    <a:pt x="1882" y="948"/>
                  </a:moveTo>
                  <a:cubicBezTo>
                    <a:pt x="1882" y="1168"/>
                    <a:pt x="1882" y="1168"/>
                    <a:pt x="1882" y="1168"/>
                  </a:cubicBezTo>
                  <a:cubicBezTo>
                    <a:pt x="1882" y="1208"/>
                    <a:pt x="1861" y="1261"/>
                    <a:pt x="1760" y="1286"/>
                  </a:cubicBezTo>
                  <a:cubicBezTo>
                    <a:pt x="1718" y="1296"/>
                    <a:pt x="1663" y="1302"/>
                    <a:pt x="1606" y="1302"/>
                  </a:cubicBezTo>
                  <a:cubicBezTo>
                    <a:pt x="1549" y="1302"/>
                    <a:pt x="1494" y="1296"/>
                    <a:pt x="1452" y="1286"/>
                  </a:cubicBezTo>
                  <a:cubicBezTo>
                    <a:pt x="1439" y="1283"/>
                    <a:pt x="1412" y="1276"/>
                    <a:pt x="1387" y="1262"/>
                  </a:cubicBezTo>
                  <a:cubicBezTo>
                    <a:pt x="1350" y="1240"/>
                    <a:pt x="1329" y="1207"/>
                    <a:pt x="1329" y="1168"/>
                  </a:cubicBezTo>
                  <a:cubicBezTo>
                    <a:pt x="1329" y="948"/>
                    <a:pt x="1329" y="948"/>
                    <a:pt x="1329" y="948"/>
                  </a:cubicBezTo>
                  <a:cubicBezTo>
                    <a:pt x="1329" y="908"/>
                    <a:pt x="1350" y="855"/>
                    <a:pt x="1452" y="830"/>
                  </a:cubicBezTo>
                  <a:cubicBezTo>
                    <a:pt x="1494" y="820"/>
                    <a:pt x="1549" y="814"/>
                    <a:pt x="1606" y="814"/>
                  </a:cubicBezTo>
                  <a:cubicBezTo>
                    <a:pt x="1663" y="814"/>
                    <a:pt x="1718" y="820"/>
                    <a:pt x="1760" y="830"/>
                  </a:cubicBezTo>
                  <a:cubicBezTo>
                    <a:pt x="1773" y="833"/>
                    <a:pt x="1799" y="840"/>
                    <a:pt x="1824" y="854"/>
                  </a:cubicBezTo>
                  <a:cubicBezTo>
                    <a:pt x="1862" y="876"/>
                    <a:pt x="1882" y="910"/>
                    <a:pt x="1882" y="948"/>
                  </a:cubicBezTo>
                  <a:close/>
                  <a:moveTo>
                    <a:pt x="1838" y="948"/>
                  </a:moveTo>
                  <a:cubicBezTo>
                    <a:pt x="1838" y="894"/>
                    <a:pt x="1771" y="878"/>
                    <a:pt x="1750" y="873"/>
                  </a:cubicBezTo>
                  <a:cubicBezTo>
                    <a:pt x="1711" y="863"/>
                    <a:pt x="1660" y="858"/>
                    <a:pt x="1606" y="858"/>
                  </a:cubicBezTo>
                  <a:cubicBezTo>
                    <a:pt x="1552" y="858"/>
                    <a:pt x="1501" y="863"/>
                    <a:pt x="1462" y="873"/>
                  </a:cubicBezTo>
                  <a:cubicBezTo>
                    <a:pt x="1440" y="878"/>
                    <a:pt x="1373" y="894"/>
                    <a:pt x="1373" y="948"/>
                  </a:cubicBezTo>
                  <a:cubicBezTo>
                    <a:pt x="1373" y="1168"/>
                    <a:pt x="1373" y="1168"/>
                    <a:pt x="1373" y="1168"/>
                  </a:cubicBezTo>
                  <a:cubicBezTo>
                    <a:pt x="1373" y="1222"/>
                    <a:pt x="1440" y="1238"/>
                    <a:pt x="1462" y="1243"/>
                  </a:cubicBezTo>
                  <a:cubicBezTo>
                    <a:pt x="1501" y="1253"/>
                    <a:pt x="1552" y="1258"/>
                    <a:pt x="1606" y="1258"/>
                  </a:cubicBezTo>
                  <a:cubicBezTo>
                    <a:pt x="1660" y="1258"/>
                    <a:pt x="1711" y="1253"/>
                    <a:pt x="1750" y="1243"/>
                  </a:cubicBezTo>
                  <a:cubicBezTo>
                    <a:pt x="1771" y="1238"/>
                    <a:pt x="1838" y="1222"/>
                    <a:pt x="1838" y="1168"/>
                  </a:cubicBezTo>
                  <a:lnTo>
                    <a:pt x="1838" y="948"/>
                  </a:lnTo>
                  <a:close/>
                  <a:moveTo>
                    <a:pt x="1728" y="325"/>
                  </a:moveTo>
                  <a:cubicBezTo>
                    <a:pt x="1743" y="324"/>
                    <a:pt x="1757" y="322"/>
                    <a:pt x="1772" y="321"/>
                  </a:cubicBezTo>
                  <a:cubicBezTo>
                    <a:pt x="1772" y="198"/>
                    <a:pt x="1772" y="198"/>
                    <a:pt x="1772" y="198"/>
                  </a:cubicBezTo>
                  <a:cubicBezTo>
                    <a:pt x="1772" y="186"/>
                    <a:pt x="1763" y="176"/>
                    <a:pt x="1750" y="176"/>
                  </a:cubicBezTo>
                  <a:cubicBezTo>
                    <a:pt x="1246" y="176"/>
                    <a:pt x="1246" y="176"/>
                    <a:pt x="1246" y="176"/>
                  </a:cubicBezTo>
                  <a:cubicBezTo>
                    <a:pt x="1209" y="215"/>
                    <a:pt x="1209" y="215"/>
                    <a:pt x="1209" y="215"/>
                  </a:cubicBezTo>
                  <a:cubicBezTo>
                    <a:pt x="1209" y="220"/>
                    <a:pt x="1209" y="220"/>
                    <a:pt x="1209" y="220"/>
                  </a:cubicBezTo>
                  <a:cubicBezTo>
                    <a:pt x="1728" y="220"/>
                    <a:pt x="1728" y="220"/>
                    <a:pt x="1728" y="220"/>
                  </a:cubicBezTo>
                  <a:lnTo>
                    <a:pt x="1728" y="325"/>
                  </a:lnTo>
                  <a:close/>
                  <a:moveTo>
                    <a:pt x="1822" y="319"/>
                  </a:moveTo>
                  <a:cubicBezTo>
                    <a:pt x="1827" y="318"/>
                    <a:pt x="1833" y="318"/>
                    <a:pt x="1838" y="318"/>
                  </a:cubicBezTo>
                  <a:cubicBezTo>
                    <a:pt x="1848" y="318"/>
                    <a:pt x="1857" y="319"/>
                    <a:pt x="1866" y="319"/>
                  </a:cubicBezTo>
                  <a:cubicBezTo>
                    <a:pt x="1866" y="111"/>
                    <a:pt x="1866" y="111"/>
                    <a:pt x="1866" y="111"/>
                  </a:cubicBezTo>
                  <a:cubicBezTo>
                    <a:pt x="1866" y="99"/>
                    <a:pt x="1856" y="89"/>
                    <a:pt x="1844" y="89"/>
                  </a:cubicBezTo>
                  <a:cubicBezTo>
                    <a:pt x="1330" y="89"/>
                    <a:pt x="1330" y="89"/>
                    <a:pt x="1330" y="89"/>
                  </a:cubicBezTo>
                  <a:cubicBezTo>
                    <a:pt x="1288" y="133"/>
                    <a:pt x="1288" y="133"/>
                    <a:pt x="1288" y="133"/>
                  </a:cubicBezTo>
                  <a:cubicBezTo>
                    <a:pt x="1822" y="133"/>
                    <a:pt x="1822" y="133"/>
                    <a:pt x="1822" y="133"/>
                  </a:cubicBezTo>
                  <a:lnTo>
                    <a:pt x="1822" y="319"/>
                  </a:lnTo>
                  <a:close/>
                  <a:moveTo>
                    <a:pt x="1907" y="321"/>
                  </a:moveTo>
                  <a:cubicBezTo>
                    <a:pt x="1922" y="322"/>
                    <a:pt x="1937" y="324"/>
                    <a:pt x="1951" y="326"/>
                  </a:cubicBezTo>
                  <a:cubicBezTo>
                    <a:pt x="1951" y="22"/>
                    <a:pt x="1951" y="22"/>
                    <a:pt x="1951" y="22"/>
                  </a:cubicBezTo>
                  <a:cubicBezTo>
                    <a:pt x="1951" y="10"/>
                    <a:pt x="1941" y="0"/>
                    <a:pt x="1929" y="0"/>
                  </a:cubicBezTo>
                  <a:cubicBezTo>
                    <a:pt x="1415" y="0"/>
                    <a:pt x="1415" y="0"/>
                    <a:pt x="1415" y="0"/>
                  </a:cubicBezTo>
                  <a:cubicBezTo>
                    <a:pt x="1373" y="44"/>
                    <a:pt x="1373" y="44"/>
                    <a:pt x="1373" y="44"/>
                  </a:cubicBezTo>
                  <a:cubicBezTo>
                    <a:pt x="1907" y="44"/>
                    <a:pt x="1907" y="44"/>
                    <a:pt x="1907" y="44"/>
                  </a:cubicBezTo>
                  <a:lnTo>
                    <a:pt x="1907" y="321"/>
                  </a:lnTo>
                  <a:close/>
                  <a:moveTo>
                    <a:pt x="1285" y="1059"/>
                  </a:moveTo>
                  <a:cubicBezTo>
                    <a:pt x="1209" y="1059"/>
                    <a:pt x="1209" y="1059"/>
                    <a:pt x="1209" y="1059"/>
                  </a:cubicBezTo>
                  <a:cubicBezTo>
                    <a:pt x="1209" y="1103"/>
                    <a:pt x="1209" y="1103"/>
                    <a:pt x="1209" y="1103"/>
                  </a:cubicBezTo>
                  <a:cubicBezTo>
                    <a:pt x="1285" y="1103"/>
                    <a:pt x="1285" y="1103"/>
                    <a:pt x="1285" y="1103"/>
                  </a:cubicBezTo>
                  <a:lnTo>
                    <a:pt x="1285" y="1059"/>
                  </a:lnTo>
                  <a:close/>
                  <a:moveTo>
                    <a:pt x="1285" y="948"/>
                  </a:moveTo>
                  <a:cubicBezTo>
                    <a:pt x="1285" y="902"/>
                    <a:pt x="1305" y="820"/>
                    <a:pt x="1441" y="787"/>
                  </a:cubicBezTo>
                  <a:cubicBezTo>
                    <a:pt x="1464" y="782"/>
                    <a:pt x="1490" y="777"/>
                    <a:pt x="1518" y="775"/>
                  </a:cubicBezTo>
                  <a:cubicBezTo>
                    <a:pt x="1518" y="496"/>
                    <a:pt x="1518" y="496"/>
                    <a:pt x="1518" y="496"/>
                  </a:cubicBezTo>
                  <a:cubicBezTo>
                    <a:pt x="1518" y="456"/>
                    <a:pt x="1533" y="388"/>
                    <a:pt x="1629" y="350"/>
                  </a:cubicBezTo>
                  <a:cubicBezTo>
                    <a:pt x="1629" y="334"/>
                    <a:pt x="1629" y="334"/>
                    <a:pt x="1629" y="334"/>
                  </a:cubicBezTo>
                  <a:cubicBezTo>
                    <a:pt x="1629" y="328"/>
                    <a:pt x="1625" y="324"/>
                    <a:pt x="1619" y="324"/>
                  </a:cubicBezTo>
                  <a:cubicBezTo>
                    <a:pt x="1209" y="324"/>
                    <a:pt x="1209" y="324"/>
                    <a:pt x="1209" y="324"/>
                  </a:cubicBezTo>
                  <a:cubicBezTo>
                    <a:pt x="1209" y="956"/>
                    <a:pt x="1209" y="956"/>
                    <a:pt x="1209" y="956"/>
                  </a:cubicBezTo>
                  <a:cubicBezTo>
                    <a:pt x="1285" y="956"/>
                    <a:pt x="1285" y="956"/>
                    <a:pt x="1285" y="956"/>
                  </a:cubicBezTo>
                  <a:lnTo>
                    <a:pt x="1285" y="948"/>
                  </a:lnTo>
                  <a:close/>
                  <a:moveTo>
                    <a:pt x="2057" y="403"/>
                  </a:moveTo>
                  <a:cubicBezTo>
                    <a:pt x="2032" y="388"/>
                    <a:pt x="2005" y="381"/>
                    <a:pt x="1992" y="378"/>
                  </a:cubicBezTo>
                  <a:cubicBezTo>
                    <a:pt x="1950" y="368"/>
                    <a:pt x="1896" y="362"/>
                    <a:pt x="1838" y="362"/>
                  </a:cubicBezTo>
                  <a:cubicBezTo>
                    <a:pt x="1781" y="362"/>
                    <a:pt x="1726" y="368"/>
                    <a:pt x="1684" y="378"/>
                  </a:cubicBezTo>
                  <a:cubicBezTo>
                    <a:pt x="1583" y="403"/>
                    <a:pt x="1562" y="456"/>
                    <a:pt x="1562" y="496"/>
                  </a:cubicBezTo>
                  <a:cubicBezTo>
                    <a:pt x="1562" y="771"/>
                    <a:pt x="1562" y="771"/>
                    <a:pt x="1562" y="771"/>
                  </a:cubicBezTo>
                  <a:cubicBezTo>
                    <a:pt x="1576" y="770"/>
                    <a:pt x="1591" y="770"/>
                    <a:pt x="1606" y="770"/>
                  </a:cubicBezTo>
                  <a:cubicBezTo>
                    <a:pt x="1606" y="770"/>
                    <a:pt x="1606" y="770"/>
                    <a:pt x="1606" y="770"/>
                  </a:cubicBezTo>
                  <a:cubicBezTo>
                    <a:pt x="1606" y="496"/>
                    <a:pt x="1606" y="496"/>
                    <a:pt x="1606" y="496"/>
                  </a:cubicBezTo>
                  <a:cubicBezTo>
                    <a:pt x="1606" y="443"/>
                    <a:pt x="1673" y="426"/>
                    <a:pt x="1695" y="421"/>
                  </a:cubicBezTo>
                  <a:cubicBezTo>
                    <a:pt x="1734" y="412"/>
                    <a:pt x="1785" y="406"/>
                    <a:pt x="1838" y="406"/>
                  </a:cubicBezTo>
                  <a:cubicBezTo>
                    <a:pt x="1892" y="406"/>
                    <a:pt x="1943" y="412"/>
                    <a:pt x="1982" y="421"/>
                  </a:cubicBezTo>
                  <a:cubicBezTo>
                    <a:pt x="2004" y="426"/>
                    <a:pt x="2071" y="443"/>
                    <a:pt x="2071" y="496"/>
                  </a:cubicBezTo>
                  <a:cubicBezTo>
                    <a:pt x="2071" y="1055"/>
                    <a:pt x="2071" y="1055"/>
                    <a:pt x="2071" y="1055"/>
                  </a:cubicBezTo>
                  <a:cubicBezTo>
                    <a:pt x="2071" y="1108"/>
                    <a:pt x="2004" y="1125"/>
                    <a:pt x="1982" y="1130"/>
                  </a:cubicBezTo>
                  <a:cubicBezTo>
                    <a:pt x="1965" y="1134"/>
                    <a:pt x="1947" y="1137"/>
                    <a:pt x="1926" y="1140"/>
                  </a:cubicBezTo>
                  <a:cubicBezTo>
                    <a:pt x="1926" y="1168"/>
                    <a:pt x="1926" y="1168"/>
                    <a:pt x="1926" y="1168"/>
                  </a:cubicBezTo>
                  <a:cubicBezTo>
                    <a:pt x="1926" y="1173"/>
                    <a:pt x="1926" y="1178"/>
                    <a:pt x="1925" y="1184"/>
                  </a:cubicBezTo>
                  <a:cubicBezTo>
                    <a:pt x="1950" y="1181"/>
                    <a:pt x="1973" y="1178"/>
                    <a:pt x="1992" y="1173"/>
                  </a:cubicBezTo>
                  <a:cubicBezTo>
                    <a:pt x="2094" y="1148"/>
                    <a:pt x="2115" y="1095"/>
                    <a:pt x="2115" y="1055"/>
                  </a:cubicBezTo>
                  <a:cubicBezTo>
                    <a:pt x="2115" y="496"/>
                    <a:pt x="2115" y="496"/>
                    <a:pt x="2115" y="496"/>
                  </a:cubicBezTo>
                  <a:cubicBezTo>
                    <a:pt x="2115" y="458"/>
                    <a:pt x="2094" y="425"/>
                    <a:pt x="2057" y="403"/>
                  </a:cubicBezTo>
                  <a:close/>
                </a:path>
              </a:pathLst>
            </a:custGeom>
            <a:solidFill>
              <a:srgbClr val="6E6F7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0" name="Freeform 12">
              <a:extLst>
                <a:ext uri="{FF2B5EF4-FFF2-40B4-BE49-F238E27FC236}">
                  <a16:creationId xmlns:a16="http://schemas.microsoft.com/office/drawing/2014/main" xmlns="" id="{D63CC4D9-71E9-47B8-8268-8DD12EBA4D36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10" y="1222"/>
              <a:ext cx="2642" cy="2265"/>
            </a:xfrm>
            <a:custGeom>
              <a:avLst/>
              <a:gdLst>
                <a:gd name="T0" fmla="*/ 0 w 1410"/>
                <a:gd name="T1" fmla="*/ 1099 h 1208"/>
                <a:gd name="T2" fmla="*/ 184 w 1410"/>
                <a:gd name="T3" fmla="*/ 0 h 1208"/>
                <a:gd name="T4" fmla="*/ 548 w 1410"/>
                <a:gd name="T5" fmla="*/ 191 h 1208"/>
                <a:gd name="T6" fmla="*/ 1410 w 1410"/>
                <a:gd name="T7" fmla="*/ 662 h 1208"/>
                <a:gd name="T8" fmla="*/ 1221 w 1410"/>
                <a:gd name="T9" fmla="*/ 692 h 1208"/>
                <a:gd name="T10" fmla="*/ 1033 w 1410"/>
                <a:gd name="T11" fmla="*/ 662 h 1208"/>
                <a:gd name="T12" fmla="*/ 1033 w 1410"/>
                <a:gd name="T13" fmla="*/ 711 h 1208"/>
                <a:gd name="T14" fmla="*/ 1033 w 1410"/>
                <a:gd name="T15" fmla="*/ 714 h 1208"/>
                <a:gd name="T16" fmla="*/ 1410 w 1410"/>
                <a:gd name="T17" fmla="*/ 714 h 1208"/>
                <a:gd name="T18" fmla="*/ 1409 w 1410"/>
                <a:gd name="T19" fmla="*/ 711 h 1208"/>
                <a:gd name="T20" fmla="*/ 1410 w 1410"/>
                <a:gd name="T21" fmla="*/ 662 h 1208"/>
                <a:gd name="T22" fmla="*/ 1033 w 1410"/>
                <a:gd name="T23" fmla="*/ 490 h 1208"/>
                <a:gd name="T24" fmla="*/ 1221 w 1410"/>
                <a:gd name="T25" fmla="*/ 536 h 1208"/>
                <a:gd name="T26" fmla="*/ 1410 w 1410"/>
                <a:gd name="T27" fmla="*/ 490 h 1208"/>
                <a:gd name="T28" fmla="*/ 1409 w 1410"/>
                <a:gd name="T29" fmla="*/ 487 h 1208"/>
                <a:gd name="T30" fmla="*/ 1033 w 1410"/>
                <a:gd name="T31" fmla="*/ 487 h 1208"/>
                <a:gd name="T32" fmla="*/ 1221 w 1410"/>
                <a:gd name="T33" fmla="*/ 580 h 1208"/>
                <a:gd name="T34" fmla="*/ 1033 w 1410"/>
                <a:gd name="T35" fmla="*/ 550 h 1208"/>
                <a:gd name="T36" fmla="*/ 1033 w 1410"/>
                <a:gd name="T37" fmla="*/ 599 h 1208"/>
                <a:gd name="T38" fmla="*/ 1033 w 1410"/>
                <a:gd name="T39" fmla="*/ 602 h 1208"/>
                <a:gd name="T40" fmla="*/ 1410 w 1410"/>
                <a:gd name="T41" fmla="*/ 602 h 1208"/>
                <a:gd name="T42" fmla="*/ 1409 w 1410"/>
                <a:gd name="T43" fmla="*/ 599 h 1208"/>
                <a:gd name="T44" fmla="*/ 1410 w 1410"/>
                <a:gd name="T45" fmla="*/ 550 h 1208"/>
                <a:gd name="T46" fmla="*/ 1221 w 1410"/>
                <a:gd name="T47" fmla="*/ 580 h 1208"/>
                <a:gd name="T48" fmla="*/ 845 w 1410"/>
                <a:gd name="T49" fmla="*/ 1015 h 1208"/>
                <a:gd name="T50" fmla="*/ 800 w 1410"/>
                <a:gd name="T51" fmla="*/ 1049 h 1208"/>
                <a:gd name="T52" fmla="*/ 800 w 1410"/>
                <a:gd name="T53" fmla="*/ 1052 h 1208"/>
                <a:gd name="T54" fmla="*/ 989 w 1410"/>
                <a:gd name="T55" fmla="*/ 1098 h 1208"/>
                <a:gd name="T56" fmla="*/ 1177 w 1410"/>
                <a:gd name="T57" fmla="*/ 1052 h 1208"/>
                <a:gd name="T58" fmla="*/ 1177 w 1410"/>
                <a:gd name="T59" fmla="*/ 1049 h 1208"/>
                <a:gd name="T60" fmla="*/ 1133 w 1410"/>
                <a:gd name="T61" fmla="*/ 1015 h 1208"/>
                <a:gd name="T62" fmla="*/ 1133 w 1410"/>
                <a:gd name="T63" fmla="*/ 1127 h 1208"/>
                <a:gd name="T64" fmla="*/ 845 w 1410"/>
                <a:gd name="T65" fmla="*/ 1127 h 1208"/>
                <a:gd name="T66" fmla="*/ 800 w 1410"/>
                <a:gd name="T67" fmla="*/ 1161 h 1208"/>
                <a:gd name="T68" fmla="*/ 800 w 1410"/>
                <a:gd name="T69" fmla="*/ 1163 h 1208"/>
                <a:gd name="T70" fmla="*/ 1177 w 1410"/>
                <a:gd name="T71" fmla="*/ 1163 h 1208"/>
                <a:gd name="T72" fmla="*/ 1177 w 1410"/>
                <a:gd name="T73" fmla="*/ 1161 h 1208"/>
                <a:gd name="T74" fmla="*/ 1133 w 1410"/>
                <a:gd name="T75" fmla="*/ 1127 h 1208"/>
                <a:gd name="T76" fmla="*/ 1177 w 1410"/>
                <a:gd name="T77" fmla="*/ 941 h 1208"/>
                <a:gd name="T78" fmla="*/ 800 w 1410"/>
                <a:gd name="T79" fmla="*/ 941 h 1208"/>
                <a:gd name="T80" fmla="*/ 1410 w 1410"/>
                <a:gd name="T81" fmla="*/ 774 h 1208"/>
                <a:gd name="T82" fmla="*/ 1221 w 1410"/>
                <a:gd name="T83" fmla="*/ 804 h 1208"/>
                <a:gd name="T84" fmla="*/ 1230 w 1410"/>
                <a:gd name="T85" fmla="*/ 810 h 1208"/>
                <a:gd name="T86" fmla="*/ 1410 w 1410"/>
                <a:gd name="T87" fmla="*/ 826 h 1208"/>
                <a:gd name="T88" fmla="*/ 1409 w 1410"/>
                <a:gd name="T89" fmla="*/ 824 h 1208"/>
                <a:gd name="T90" fmla="*/ 1410 w 1410"/>
                <a:gd name="T91" fmla="*/ 774 h 1208"/>
                <a:gd name="T92" fmla="*/ 1365 w 1410"/>
                <a:gd name="T93" fmla="*/ 902 h 1208"/>
                <a:gd name="T94" fmla="*/ 1309 w 1410"/>
                <a:gd name="T95" fmla="*/ 942 h 1208"/>
                <a:gd name="T96" fmla="*/ 1410 w 1410"/>
                <a:gd name="T97" fmla="*/ 939 h 1208"/>
                <a:gd name="T98" fmla="*/ 1409 w 1410"/>
                <a:gd name="T99" fmla="*/ 936 h 1208"/>
                <a:gd name="T100" fmla="*/ 1410 w 1410"/>
                <a:gd name="T101" fmla="*/ 886 h 1208"/>
                <a:gd name="T102" fmla="*/ 1365 w 1410"/>
                <a:gd name="T103" fmla="*/ 1014 h 1208"/>
                <a:gd name="T104" fmla="*/ 1309 w 1410"/>
                <a:gd name="T105" fmla="*/ 1089 h 1208"/>
                <a:gd name="T106" fmla="*/ 1409 w 1410"/>
                <a:gd name="T107" fmla="*/ 1048 h 1208"/>
                <a:gd name="T108" fmla="*/ 1410 w 1410"/>
                <a:gd name="T109" fmla="*/ 998 h 12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10" h="1208">
                  <a:moveTo>
                    <a:pt x="548" y="1099"/>
                  </a:moveTo>
                  <a:cubicBezTo>
                    <a:pt x="0" y="1099"/>
                    <a:pt x="0" y="1099"/>
                    <a:pt x="0" y="1099"/>
                  </a:cubicBezTo>
                  <a:cubicBezTo>
                    <a:pt x="0" y="191"/>
                    <a:pt x="0" y="191"/>
                    <a:pt x="0" y="191"/>
                  </a:cubicBezTo>
                  <a:cubicBezTo>
                    <a:pt x="184" y="0"/>
                    <a:pt x="184" y="0"/>
                    <a:pt x="184" y="0"/>
                  </a:cubicBezTo>
                  <a:cubicBezTo>
                    <a:pt x="732" y="0"/>
                    <a:pt x="732" y="0"/>
                    <a:pt x="732" y="0"/>
                  </a:cubicBezTo>
                  <a:cubicBezTo>
                    <a:pt x="548" y="191"/>
                    <a:pt x="548" y="191"/>
                    <a:pt x="548" y="191"/>
                  </a:cubicBezTo>
                  <a:lnTo>
                    <a:pt x="548" y="1099"/>
                  </a:lnTo>
                  <a:close/>
                  <a:moveTo>
                    <a:pt x="1410" y="662"/>
                  </a:moveTo>
                  <a:cubicBezTo>
                    <a:pt x="1398" y="668"/>
                    <a:pt x="1383" y="673"/>
                    <a:pt x="1365" y="678"/>
                  </a:cubicBezTo>
                  <a:cubicBezTo>
                    <a:pt x="1326" y="687"/>
                    <a:pt x="1275" y="692"/>
                    <a:pt x="1221" y="692"/>
                  </a:cubicBezTo>
                  <a:cubicBezTo>
                    <a:pt x="1168" y="692"/>
                    <a:pt x="1117" y="687"/>
                    <a:pt x="1078" y="678"/>
                  </a:cubicBezTo>
                  <a:cubicBezTo>
                    <a:pt x="1060" y="673"/>
                    <a:pt x="1045" y="668"/>
                    <a:pt x="1033" y="662"/>
                  </a:cubicBezTo>
                  <a:cubicBezTo>
                    <a:pt x="1033" y="711"/>
                    <a:pt x="1033" y="711"/>
                    <a:pt x="1033" y="711"/>
                  </a:cubicBezTo>
                  <a:cubicBezTo>
                    <a:pt x="1033" y="711"/>
                    <a:pt x="1033" y="711"/>
                    <a:pt x="1033" y="711"/>
                  </a:cubicBezTo>
                  <a:cubicBezTo>
                    <a:pt x="1033" y="712"/>
                    <a:pt x="1033" y="713"/>
                    <a:pt x="1033" y="714"/>
                  </a:cubicBezTo>
                  <a:cubicBezTo>
                    <a:pt x="1033" y="714"/>
                    <a:pt x="1033" y="714"/>
                    <a:pt x="1033" y="714"/>
                  </a:cubicBezTo>
                  <a:cubicBezTo>
                    <a:pt x="1033" y="740"/>
                    <a:pt x="1117" y="760"/>
                    <a:pt x="1221" y="760"/>
                  </a:cubicBezTo>
                  <a:cubicBezTo>
                    <a:pt x="1325" y="760"/>
                    <a:pt x="1410" y="740"/>
                    <a:pt x="1410" y="714"/>
                  </a:cubicBezTo>
                  <a:cubicBezTo>
                    <a:pt x="1410" y="714"/>
                    <a:pt x="1410" y="714"/>
                    <a:pt x="1410" y="714"/>
                  </a:cubicBezTo>
                  <a:cubicBezTo>
                    <a:pt x="1410" y="713"/>
                    <a:pt x="1410" y="712"/>
                    <a:pt x="1409" y="711"/>
                  </a:cubicBezTo>
                  <a:cubicBezTo>
                    <a:pt x="1410" y="711"/>
                    <a:pt x="1410" y="711"/>
                    <a:pt x="1410" y="711"/>
                  </a:cubicBezTo>
                  <a:lnTo>
                    <a:pt x="1410" y="662"/>
                  </a:lnTo>
                  <a:close/>
                  <a:moveTo>
                    <a:pt x="1033" y="488"/>
                  </a:moveTo>
                  <a:cubicBezTo>
                    <a:pt x="1033" y="489"/>
                    <a:pt x="1033" y="490"/>
                    <a:pt x="1033" y="490"/>
                  </a:cubicBezTo>
                  <a:cubicBezTo>
                    <a:pt x="1033" y="490"/>
                    <a:pt x="1033" y="490"/>
                    <a:pt x="1033" y="490"/>
                  </a:cubicBezTo>
                  <a:cubicBezTo>
                    <a:pt x="1033" y="516"/>
                    <a:pt x="1117" y="536"/>
                    <a:pt x="1221" y="536"/>
                  </a:cubicBezTo>
                  <a:cubicBezTo>
                    <a:pt x="1325" y="536"/>
                    <a:pt x="1410" y="516"/>
                    <a:pt x="1410" y="490"/>
                  </a:cubicBezTo>
                  <a:cubicBezTo>
                    <a:pt x="1410" y="490"/>
                    <a:pt x="1410" y="490"/>
                    <a:pt x="1410" y="490"/>
                  </a:cubicBezTo>
                  <a:cubicBezTo>
                    <a:pt x="1410" y="490"/>
                    <a:pt x="1410" y="489"/>
                    <a:pt x="1410" y="488"/>
                  </a:cubicBezTo>
                  <a:cubicBezTo>
                    <a:pt x="1410" y="488"/>
                    <a:pt x="1410" y="488"/>
                    <a:pt x="1409" y="487"/>
                  </a:cubicBezTo>
                  <a:cubicBezTo>
                    <a:pt x="1403" y="463"/>
                    <a:pt x="1321" y="444"/>
                    <a:pt x="1221" y="444"/>
                  </a:cubicBezTo>
                  <a:cubicBezTo>
                    <a:pt x="1121" y="444"/>
                    <a:pt x="1039" y="463"/>
                    <a:pt x="1033" y="487"/>
                  </a:cubicBezTo>
                  <a:cubicBezTo>
                    <a:pt x="1033" y="488"/>
                    <a:pt x="1033" y="488"/>
                    <a:pt x="1033" y="488"/>
                  </a:cubicBezTo>
                  <a:close/>
                  <a:moveTo>
                    <a:pt x="1221" y="580"/>
                  </a:moveTo>
                  <a:cubicBezTo>
                    <a:pt x="1168" y="580"/>
                    <a:pt x="1117" y="575"/>
                    <a:pt x="1078" y="565"/>
                  </a:cubicBezTo>
                  <a:cubicBezTo>
                    <a:pt x="1060" y="561"/>
                    <a:pt x="1045" y="556"/>
                    <a:pt x="1033" y="550"/>
                  </a:cubicBezTo>
                  <a:cubicBezTo>
                    <a:pt x="1033" y="599"/>
                    <a:pt x="1033" y="599"/>
                    <a:pt x="1033" y="599"/>
                  </a:cubicBezTo>
                  <a:cubicBezTo>
                    <a:pt x="1033" y="599"/>
                    <a:pt x="1033" y="599"/>
                    <a:pt x="1033" y="599"/>
                  </a:cubicBezTo>
                  <a:cubicBezTo>
                    <a:pt x="1033" y="600"/>
                    <a:pt x="1033" y="601"/>
                    <a:pt x="1033" y="602"/>
                  </a:cubicBezTo>
                  <a:cubicBezTo>
                    <a:pt x="1033" y="602"/>
                    <a:pt x="1033" y="602"/>
                    <a:pt x="1033" y="602"/>
                  </a:cubicBezTo>
                  <a:cubicBezTo>
                    <a:pt x="1033" y="628"/>
                    <a:pt x="1117" y="648"/>
                    <a:pt x="1221" y="648"/>
                  </a:cubicBezTo>
                  <a:cubicBezTo>
                    <a:pt x="1325" y="648"/>
                    <a:pt x="1410" y="628"/>
                    <a:pt x="1410" y="602"/>
                  </a:cubicBezTo>
                  <a:cubicBezTo>
                    <a:pt x="1410" y="602"/>
                    <a:pt x="1410" y="602"/>
                    <a:pt x="1410" y="602"/>
                  </a:cubicBezTo>
                  <a:cubicBezTo>
                    <a:pt x="1410" y="601"/>
                    <a:pt x="1410" y="600"/>
                    <a:pt x="1409" y="599"/>
                  </a:cubicBezTo>
                  <a:cubicBezTo>
                    <a:pt x="1410" y="599"/>
                    <a:pt x="1410" y="599"/>
                    <a:pt x="1410" y="599"/>
                  </a:cubicBezTo>
                  <a:cubicBezTo>
                    <a:pt x="1410" y="550"/>
                    <a:pt x="1410" y="550"/>
                    <a:pt x="1410" y="550"/>
                  </a:cubicBezTo>
                  <a:cubicBezTo>
                    <a:pt x="1398" y="556"/>
                    <a:pt x="1383" y="561"/>
                    <a:pt x="1365" y="565"/>
                  </a:cubicBezTo>
                  <a:cubicBezTo>
                    <a:pt x="1326" y="575"/>
                    <a:pt x="1275" y="580"/>
                    <a:pt x="1221" y="580"/>
                  </a:cubicBezTo>
                  <a:close/>
                  <a:moveTo>
                    <a:pt x="989" y="1030"/>
                  </a:moveTo>
                  <a:cubicBezTo>
                    <a:pt x="935" y="1030"/>
                    <a:pt x="884" y="1024"/>
                    <a:pt x="845" y="1015"/>
                  </a:cubicBezTo>
                  <a:cubicBezTo>
                    <a:pt x="827" y="1011"/>
                    <a:pt x="812" y="1005"/>
                    <a:pt x="800" y="999"/>
                  </a:cubicBezTo>
                  <a:cubicBezTo>
                    <a:pt x="800" y="1049"/>
                    <a:pt x="800" y="1049"/>
                    <a:pt x="800" y="1049"/>
                  </a:cubicBezTo>
                  <a:cubicBezTo>
                    <a:pt x="801" y="1049"/>
                    <a:pt x="801" y="1049"/>
                    <a:pt x="801" y="1049"/>
                  </a:cubicBezTo>
                  <a:cubicBezTo>
                    <a:pt x="800" y="1050"/>
                    <a:pt x="800" y="1051"/>
                    <a:pt x="800" y="1052"/>
                  </a:cubicBezTo>
                  <a:cubicBezTo>
                    <a:pt x="800" y="1052"/>
                    <a:pt x="800" y="1052"/>
                    <a:pt x="800" y="1052"/>
                  </a:cubicBezTo>
                  <a:cubicBezTo>
                    <a:pt x="800" y="1077"/>
                    <a:pt x="885" y="1098"/>
                    <a:pt x="989" y="1098"/>
                  </a:cubicBezTo>
                  <a:cubicBezTo>
                    <a:pt x="1093" y="1098"/>
                    <a:pt x="1177" y="1077"/>
                    <a:pt x="1177" y="1052"/>
                  </a:cubicBezTo>
                  <a:cubicBezTo>
                    <a:pt x="1177" y="1052"/>
                    <a:pt x="1177" y="1052"/>
                    <a:pt x="1177" y="1052"/>
                  </a:cubicBezTo>
                  <a:cubicBezTo>
                    <a:pt x="1177" y="1051"/>
                    <a:pt x="1177" y="1050"/>
                    <a:pt x="1177" y="1049"/>
                  </a:cubicBezTo>
                  <a:cubicBezTo>
                    <a:pt x="1177" y="1049"/>
                    <a:pt x="1177" y="1049"/>
                    <a:pt x="1177" y="1049"/>
                  </a:cubicBezTo>
                  <a:cubicBezTo>
                    <a:pt x="1177" y="999"/>
                    <a:pt x="1177" y="999"/>
                    <a:pt x="1177" y="999"/>
                  </a:cubicBezTo>
                  <a:cubicBezTo>
                    <a:pt x="1165" y="1005"/>
                    <a:pt x="1150" y="1011"/>
                    <a:pt x="1133" y="1015"/>
                  </a:cubicBezTo>
                  <a:cubicBezTo>
                    <a:pt x="1094" y="1024"/>
                    <a:pt x="1043" y="1030"/>
                    <a:pt x="989" y="1030"/>
                  </a:cubicBezTo>
                  <a:close/>
                  <a:moveTo>
                    <a:pt x="1133" y="1127"/>
                  </a:moveTo>
                  <a:cubicBezTo>
                    <a:pt x="1094" y="1136"/>
                    <a:pt x="1043" y="1142"/>
                    <a:pt x="989" y="1142"/>
                  </a:cubicBezTo>
                  <a:cubicBezTo>
                    <a:pt x="935" y="1142"/>
                    <a:pt x="884" y="1136"/>
                    <a:pt x="845" y="1127"/>
                  </a:cubicBezTo>
                  <a:cubicBezTo>
                    <a:pt x="827" y="1123"/>
                    <a:pt x="812" y="1117"/>
                    <a:pt x="800" y="1112"/>
                  </a:cubicBezTo>
                  <a:cubicBezTo>
                    <a:pt x="800" y="1161"/>
                    <a:pt x="800" y="1161"/>
                    <a:pt x="800" y="1161"/>
                  </a:cubicBezTo>
                  <a:cubicBezTo>
                    <a:pt x="801" y="1161"/>
                    <a:pt x="801" y="1161"/>
                    <a:pt x="801" y="1161"/>
                  </a:cubicBezTo>
                  <a:cubicBezTo>
                    <a:pt x="800" y="1162"/>
                    <a:pt x="800" y="1162"/>
                    <a:pt x="800" y="1163"/>
                  </a:cubicBezTo>
                  <a:cubicBezTo>
                    <a:pt x="802" y="1188"/>
                    <a:pt x="886" y="1208"/>
                    <a:pt x="989" y="1208"/>
                  </a:cubicBezTo>
                  <a:cubicBezTo>
                    <a:pt x="1092" y="1208"/>
                    <a:pt x="1176" y="1188"/>
                    <a:pt x="1177" y="1163"/>
                  </a:cubicBezTo>
                  <a:cubicBezTo>
                    <a:pt x="1177" y="1162"/>
                    <a:pt x="1177" y="1162"/>
                    <a:pt x="1177" y="1161"/>
                  </a:cubicBezTo>
                  <a:cubicBezTo>
                    <a:pt x="1177" y="1161"/>
                    <a:pt x="1177" y="1161"/>
                    <a:pt x="1177" y="1161"/>
                  </a:cubicBezTo>
                  <a:cubicBezTo>
                    <a:pt x="1177" y="1112"/>
                    <a:pt x="1177" y="1112"/>
                    <a:pt x="1177" y="1112"/>
                  </a:cubicBezTo>
                  <a:cubicBezTo>
                    <a:pt x="1165" y="1117"/>
                    <a:pt x="1150" y="1123"/>
                    <a:pt x="1133" y="1127"/>
                  </a:cubicBezTo>
                  <a:close/>
                  <a:moveTo>
                    <a:pt x="989" y="986"/>
                  </a:moveTo>
                  <a:cubicBezTo>
                    <a:pt x="1091" y="986"/>
                    <a:pt x="1175" y="966"/>
                    <a:pt x="1177" y="941"/>
                  </a:cubicBezTo>
                  <a:cubicBezTo>
                    <a:pt x="1175" y="916"/>
                    <a:pt x="1091" y="896"/>
                    <a:pt x="989" y="896"/>
                  </a:cubicBezTo>
                  <a:cubicBezTo>
                    <a:pt x="886" y="896"/>
                    <a:pt x="803" y="916"/>
                    <a:pt x="800" y="941"/>
                  </a:cubicBezTo>
                  <a:cubicBezTo>
                    <a:pt x="803" y="966"/>
                    <a:pt x="886" y="986"/>
                    <a:pt x="989" y="986"/>
                  </a:cubicBezTo>
                  <a:close/>
                  <a:moveTo>
                    <a:pt x="1410" y="774"/>
                  </a:moveTo>
                  <a:cubicBezTo>
                    <a:pt x="1398" y="780"/>
                    <a:pt x="1383" y="785"/>
                    <a:pt x="1365" y="790"/>
                  </a:cubicBezTo>
                  <a:cubicBezTo>
                    <a:pt x="1326" y="799"/>
                    <a:pt x="1275" y="804"/>
                    <a:pt x="1221" y="804"/>
                  </a:cubicBezTo>
                  <a:cubicBezTo>
                    <a:pt x="1220" y="804"/>
                    <a:pt x="1219" y="804"/>
                    <a:pt x="1219" y="804"/>
                  </a:cubicBezTo>
                  <a:cubicBezTo>
                    <a:pt x="1222" y="806"/>
                    <a:pt x="1226" y="808"/>
                    <a:pt x="1230" y="810"/>
                  </a:cubicBezTo>
                  <a:cubicBezTo>
                    <a:pt x="1256" y="826"/>
                    <a:pt x="1276" y="846"/>
                    <a:pt x="1290" y="869"/>
                  </a:cubicBezTo>
                  <a:cubicBezTo>
                    <a:pt x="1360" y="863"/>
                    <a:pt x="1410" y="846"/>
                    <a:pt x="1410" y="826"/>
                  </a:cubicBezTo>
                  <a:cubicBezTo>
                    <a:pt x="1410" y="826"/>
                    <a:pt x="1410" y="826"/>
                    <a:pt x="1410" y="826"/>
                  </a:cubicBezTo>
                  <a:cubicBezTo>
                    <a:pt x="1410" y="825"/>
                    <a:pt x="1410" y="824"/>
                    <a:pt x="1409" y="824"/>
                  </a:cubicBezTo>
                  <a:cubicBezTo>
                    <a:pt x="1410" y="824"/>
                    <a:pt x="1410" y="824"/>
                    <a:pt x="1410" y="824"/>
                  </a:cubicBezTo>
                  <a:lnTo>
                    <a:pt x="1410" y="774"/>
                  </a:lnTo>
                  <a:close/>
                  <a:moveTo>
                    <a:pt x="1410" y="886"/>
                  </a:moveTo>
                  <a:cubicBezTo>
                    <a:pt x="1398" y="892"/>
                    <a:pt x="1383" y="897"/>
                    <a:pt x="1365" y="902"/>
                  </a:cubicBezTo>
                  <a:cubicBezTo>
                    <a:pt x="1348" y="906"/>
                    <a:pt x="1328" y="909"/>
                    <a:pt x="1306" y="912"/>
                  </a:cubicBezTo>
                  <a:cubicBezTo>
                    <a:pt x="1308" y="922"/>
                    <a:pt x="1309" y="932"/>
                    <a:pt x="1309" y="942"/>
                  </a:cubicBezTo>
                  <a:cubicBezTo>
                    <a:pt x="1309" y="979"/>
                    <a:pt x="1309" y="979"/>
                    <a:pt x="1309" y="979"/>
                  </a:cubicBezTo>
                  <a:cubicBezTo>
                    <a:pt x="1369" y="971"/>
                    <a:pt x="1410" y="956"/>
                    <a:pt x="1410" y="939"/>
                  </a:cubicBezTo>
                  <a:cubicBezTo>
                    <a:pt x="1410" y="939"/>
                    <a:pt x="1410" y="939"/>
                    <a:pt x="1410" y="939"/>
                  </a:cubicBezTo>
                  <a:cubicBezTo>
                    <a:pt x="1410" y="938"/>
                    <a:pt x="1410" y="937"/>
                    <a:pt x="1409" y="936"/>
                  </a:cubicBezTo>
                  <a:cubicBezTo>
                    <a:pt x="1410" y="936"/>
                    <a:pt x="1410" y="936"/>
                    <a:pt x="1410" y="936"/>
                  </a:cubicBezTo>
                  <a:lnTo>
                    <a:pt x="1410" y="886"/>
                  </a:lnTo>
                  <a:close/>
                  <a:moveTo>
                    <a:pt x="1410" y="998"/>
                  </a:moveTo>
                  <a:cubicBezTo>
                    <a:pt x="1398" y="1004"/>
                    <a:pt x="1383" y="1009"/>
                    <a:pt x="1365" y="1014"/>
                  </a:cubicBezTo>
                  <a:cubicBezTo>
                    <a:pt x="1348" y="1018"/>
                    <a:pt x="1330" y="1021"/>
                    <a:pt x="1309" y="1023"/>
                  </a:cubicBezTo>
                  <a:cubicBezTo>
                    <a:pt x="1309" y="1089"/>
                    <a:pt x="1309" y="1089"/>
                    <a:pt x="1309" y="1089"/>
                  </a:cubicBezTo>
                  <a:cubicBezTo>
                    <a:pt x="1368" y="1082"/>
                    <a:pt x="1409" y="1067"/>
                    <a:pt x="1410" y="1050"/>
                  </a:cubicBezTo>
                  <a:cubicBezTo>
                    <a:pt x="1410" y="1049"/>
                    <a:pt x="1410" y="1048"/>
                    <a:pt x="1409" y="1048"/>
                  </a:cubicBezTo>
                  <a:cubicBezTo>
                    <a:pt x="1410" y="1048"/>
                    <a:pt x="1410" y="1048"/>
                    <a:pt x="1410" y="1048"/>
                  </a:cubicBezTo>
                  <a:lnTo>
                    <a:pt x="1410" y="998"/>
                  </a:lnTo>
                  <a:close/>
                </a:path>
              </a:pathLst>
            </a:custGeom>
            <a:solidFill>
              <a:srgbClr val="9A9A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sp>
        <p:nvSpPr>
          <p:cNvPr id="46" name="Rectangle 45"/>
          <p:cNvSpPr/>
          <p:nvPr/>
        </p:nvSpPr>
        <p:spPr>
          <a:xfrm>
            <a:off x="1146841" y="3322860"/>
            <a:ext cx="991856" cy="18956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en-US" sz="900" dirty="0" err="1">
                <a:solidFill>
                  <a:srgbClr val="575757"/>
                </a:solidFill>
              </a:rPr>
              <a:t>FinTech</a:t>
            </a:r>
            <a:endParaRPr lang="ru-RU" sz="900" dirty="0" err="1">
              <a:solidFill>
                <a:srgbClr val="575757"/>
              </a:solidFill>
            </a:endParaRPr>
          </a:p>
        </p:txBody>
      </p:sp>
      <p:grpSp>
        <p:nvGrpSpPr>
          <p:cNvPr id="47" name="bcgIcons_Agile">
            <a:extLst>
              <a:ext uri="{FF2B5EF4-FFF2-40B4-BE49-F238E27FC236}">
                <a16:creationId xmlns:a16="http://schemas.microsoft.com/office/drawing/2014/main" xmlns="" id="{34A4AA69-DC2D-4340-93CD-37C61ED3A335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5870486" y="3594867"/>
            <a:ext cx="431777" cy="432310"/>
            <a:chOff x="1682" y="0"/>
            <a:chExt cx="4316" cy="4320"/>
          </a:xfrm>
        </p:grpSpPr>
        <p:sp>
          <p:nvSpPr>
            <p:cNvPr id="48" name="AutoShape 8">
              <a:extLst>
                <a:ext uri="{FF2B5EF4-FFF2-40B4-BE49-F238E27FC236}">
                  <a16:creationId xmlns:a16="http://schemas.microsoft.com/office/drawing/2014/main" xmlns="" id="{D741600B-5B9D-438C-B14B-D83C0CDE5D28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49" name="Freeform 10">
              <a:extLst>
                <a:ext uri="{FF2B5EF4-FFF2-40B4-BE49-F238E27FC236}">
                  <a16:creationId xmlns:a16="http://schemas.microsoft.com/office/drawing/2014/main" xmlns="" id="{5244838B-0846-448F-8630-A72E4A8D693D}"/>
                </a:ext>
              </a:extLst>
            </p:cNvPr>
            <p:cNvSpPr>
              <a:spLocks/>
            </p:cNvSpPr>
            <p:nvPr/>
          </p:nvSpPr>
          <p:spPr bwMode="auto">
            <a:xfrm>
              <a:off x="2875" y="984"/>
              <a:ext cx="2406" cy="2125"/>
            </a:xfrm>
            <a:custGeom>
              <a:avLst/>
              <a:gdLst>
                <a:gd name="T0" fmla="*/ 1247 w 1284"/>
                <a:gd name="T1" fmla="*/ 89 h 1133"/>
                <a:gd name="T2" fmla="*/ 652 w 1284"/>
                <a:gd name="T3" fmla="*/ 0 h 1133"/>
                <a:gd name="T4" fmla="*/ 367 w 1284"/>
                <a:gd name="T5" fmla="*/ 62 h 1133"/>
                <a:gd name="T6" fmla="*/ 379 w 1284"/>
                <a:gd name="T7" fmla="*/ 226 h 1133"/>
                <a:gd name="T8" fmla="*/ 244 w 1284"/>
                <a:gd name="T9" fmla="*/ 436 h 1133"/>
                <a:gd name="T10" fmla="*/ 58 w 1284"/>
                <a:gd name="T11" fmla="*/ 494 h 1133"/>
                <a:gd name="T12" fmla="*/ 58 w 1284"/>
                <a:gd name="T13" fmla="*/ 494 h 1133"/>
                <a:gd name="T14" fmla="*/ 44 w 1284"/>
                <a:gd name="T15" fmla="*/ 494 h 1133"/>
                <a:gd name="T16" fmla="*/ 334 w 1284"/>
                <a:gd name="T17" fmla="*/ 1129 h 1133"/>
                <a:gd name="T18" fmla="*/ 343 w 1284"/>
                <a:gd name="T19" fmla="*/ 1125 h 1133"/>
                <a:gd name="T20" fmla="*/ 343 w 1284"/>
                <a:gd name="T21" fmla="*/ 869 h 1133"/>
                <a:gd name="T22" fmla="*/ 342 w 1284"/>
                <a:gd name="T23" fmla="*/ 867 h 1133"/>
                <a:gd name="T24" fmla="*/ 343 w 1284"/>
                <a:gd name="T25" fmla="*/ 519 h 1133"/>
                <a:gd name="T26" fmla="*/ 526 w 1284"/>
                <a:gd name="T27" fmla="*/ 679 h 1133"/>
                <a:gd name="T28" fmla="*/ 531 w 1284"/>
                <a:gd name="T29" fmla="*/ 684 h 1133"/>
                <a:gd name="T30" fmla="*/ 627 w 1284"/>
                <a:gd name="T31" fmla="*/ 675 h 1133"/>
                <a:gd name="T32" fmla="*/ 762 w 1284"/>
                <a:gd name="T33" fmla="*/ 376 h 1133"/>
                <a:gd name="T34" fmla="*/ 1157 w 1284"/>
                <a:gd name="T35" fmla="*/ 285 h 1133"/>
                <a:gd name="T36" fmla="*/ 1161 w 1284"/>
                <a:gd name="T37" fmla="*/ 281 h 1133"/>
                <a:gd name="T38" fmla="*/ 1247 w 1284"/>
                <a:gd name="T39" fmla="*/ 89 h 1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284" h="1133">
                  <a:moveTo>
                    <a:pt x="1247" y="89"/>
                  </a:moveTo>
                  <a:cubicBezTo>
                    <a:pt x="903" y="95"/>
                    <a:pt x="1023" y="0"/>
                    <a:pt x="652" y="0"/>
                  </a:cubicBezTo>
                  <a:cubicBezTo>
                    <a:pt x="538" y="0"/>
                    <a:pt x="444" y="24"/>
                    <a:pt x="367" y="62"/>
                  </a:cubicBezTo>
                  <a:cubicBezTo>
                    <a:pt x="385" y="114"/>
                    <a:pt x="389" y="170"/>
                    <a:pt x="379" y="226"/>
                  </a:cubicBezTo>
                  <a:cubicBezTo>
                    <a:pt x="364" y="311"/>
                    <a:pt x="316" y="386"/>
                    <a:pt x="244" y="436"/>
                  </a:cubicBezTo>
                  <a:cubicBezTo>
                    <a:pt x="189" y="474"/>
                    <a:pt x="125" y="494"/>
                    <a:pt x="58" y="494"/>
                  </a:cubicBezTo>
                  <a:cubicBezTo>
                    <a:pt x="58" y="494"/>
                    <a:pt x="58" y="494"/>
                    <a:pt x="58" y="494"/>
                  </a:cubicBezTo>
                  <a:cubicBezTo>
                    <a:pt x="54" y="494"/>
                    <a:pt x="49" y="494"/>
                    <a:pt x="44" y="494"/>
                  </a:cubicBezTo>
                  <a:cubicBezTo>
                    <a:pt x="0" y="801"/>
                    <a:pt x="278" y="1078"/>
                    <a:pt x="334" y="1129"/>
                  </a:cubicBezTo>
                  <a:cubicBezTo>
                    <a:pt x="337" y="1133"/>
                    <a:pt x="343" y="1130"/>
                    <a:pt x="343" y="1125"/>
                  </a:cubicBezTo>
                  <a:cubicBezTo>
                    <a:pt x="343" y="1125"/>
                    <a:pt x="343" y="1125"/>
                    <a:pt x="343" y="869"/>
                  </a:cubicBezTo>
                  <a:cubicBezTo>
                    <a:pt x="343" y="868"/>
                    <a:pt x="343" y="867"/>
                    <a:pt x="342" y="867"/>
                  </a:cubicBezTo>
                  <a:cubicBezTo>
                    <a:pt x="333" y="847"/>
                    <a:pt x="207" y="588"/>
                    <a:pt x="343" y="519"/>
                  </a:cubicBezTo>
                  <a:cubicBezTo>
                    <a:pt x="486" y="443"/>
                    <a:pt x="522" y="647"/>
                    <a:pt x="526" y="679"/>
                  </a:cubicBezTo>
                  <a:cubicBezTo>
                    <a:pt x="527" y="682"/>
                    <a:pt x="529" y="683"/>
                    <a:pt x="531" y="684"/>
                  </a:cubicBezTo>
                  <a:cubicBezTo>
                    <a:pt x="550" y="686"/>
                    <a:pt x="627" y="696"/>
                    <a:pt x="627" y="675"/>
                  </a:cubicBezTo>
                  <a:cubicBezTo>
                    <a:pt x="627" y="521"/>
                    <a:pt x="685" y="431"/>
                    <a:pt x="762" y="376"/>
                  </a:cubicBezTo>
                  <a:cubicBezTo>
                    <a:pt x="905" y="272"/>
                    <a:pt x="1118" y="298"/>
                    <a:pt x="1157" y="285"/>
                  </a:cubicBezTo>
                  <a:cubicBezTo>
                    <a:pt x="1159" y="284"/>
                    <a:pt x="1160" y="283"/>
                    <a:pt x="1161" y="281"/>
                  </a:cubicBezTo>
                  <a:cubicBezTo>
                    <a:pt x="1179" y="205"/>
                    <a:pt x="1284" y="89"/>
                    <a:pt x="1247" y="89"/>
                  </a:cubicBezTo>
                  <a:close/>
                </a:path>
              </a:pathLst>
            </a:custGeom>
            <a:solidFill>
              <a:srgbClr val="9A9A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0" name="Freeform 11">
              <a:extLst>
                <a:ext uri="{FF2B5EF4-FFF2-40B4-BE49-F238E27FC236}">
                  <a16:creationId xmlns:a16="http://schemas.microsoft.com/office/drawing/2014/main" xmlns="" id="{CC3264B6-9A31-4B98-A791-17A303B5355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73" y="707"/>
              <a:ext cx="2999" cy="3161"/>
            </a:xfrm>
            <a:custGeom>
              <a:avLst/>
              <a:gdLst>
                <a:gd name="T0" fmla="*/ 1455 w 1601"/>
                <a:gd name="T1" fmla="*/ 1052 h 1686"/>
                <a:gd name="T2" fmla="*/ 1460 w 1601"/>
                <a:gd name="T3" fmla="*/ 1249 h 1686"/>
                <a:gd name="T4" fmla="*/ 1420 w 1601"/>
                <a:gd name="T5" fmla="*/ 1401 h 1686"/>
                <a:gd name="T6" fmla="*/ 1138 w 1601"/>
                <a:gd name="T7" fmla="*/ 1664 h 1686"/>
                <a:gd name="T8" fmla="*/ 1115 w 1601"/>
                <a:gd name="T9" fmla="*/ 1686 h 1686"/>
                <a:gd name="T10" fmla="*/ 566 w 1601"/>
                <a:gd name="T11" fmla="*/ 1572 h 1686"/>
                <a:gd name="T12" fmla="*/ 566 w 1601"/>
                <a:gd name="T13" fmla="*/ 1304 h 1686"/>
                <a:gd name="T14" fmla="*/ 610 w 1601"/>
                <a:gd name="T15" fmla="*/ 1339 h 1686"/>
                <a:gd name="T16" fmla="*/ 1094 w 1601"/>
                <a:gd name="T17" fmla="*/ 1642 h 1686"/>
                <a:gd name="T18" fmla="*/ 1101 w 1601"/>
                <a:gd name="T19" fmla="*/ 1373 h 1686"/>
                <a:gd name="T20" fmla="*/ 1400 w 1601"/>
                <a:gd name="T21" fmla="*/ 1362 h 1686"/>
                <a:gd name="T22" fmla="*/ 1416 w 1601"/>
                <a:gd name="T23" fmla="*/ 1247 h 1686"/>
                <a:gd name="T24" fmla="*/ 1410 w 1601"/>
                <a:gd name="T25" fmla="*/ 1014 h 1686"/>
                <a:gd name="T26" fmla="*/ 1549 w 1601"/>
                <a:gd name="T27" fmla="*/ 971 h 1686"/>
                <a:gd name="T28" fmla="*/ 1484 w 1601"/>
                <a:gd name="T29" fmla="*/ 890 h 1686"/>
                <a:gd name="T30" fmla="*/ 1406 w 1601"/>
                <a:gd name="T31" fmla="*/ 689 h 1686"/>
                <a:gd name="T32" fmla="*/ 1378 w 1601"/>
                <a:gd name="T33" fmla="*/ 482 h 1686"/>
                <a:gd name="T34" fmla="*/ 1436 w 1601"/>
                <a:gd name="T35" fmla="*/ 596 h 1686"/>
                <a:gd name="T36" fmla="*/ 1458 w 1601"/>
                <a:gd name="T37" fmla="*/ 743 h 1686"/>
                <a:gd name="T38" fmla="*/ 1529 w 1601"/>
                <a:gd name="T39" fmla="*/ 873 h 1686"/>
                <a:gd name="T40" fmla="*/ 579 w 1601"/>
                <a:gd name="T41" fmla="*/ 177 h 1686"/>
                <a:gd name="T42" fmla="*/ 567 w 1601"/>
                <a:gd name="T43" fmla="*/ 359 h 1686"/>
                <a:gd name="T44" fmla="*/ 283 w 1601"/>
                <a:gd name="T45" fmla="*/ 556 h 1686"/>
                <a:gd name="T46" fmla="*/ 256 w 1601"/>
                <a:gd name="T47" fmla="*/ 513 h 1686"/>
                <a:gd name="T48" fmla="*/ 250 w 1601"/>
                <a:gd name="T49" fmla="*/ 469 h 1686"/>
                <a:gd name="T50" fmla="*/ 122 w 1601"/>
                <a:gd name="T51" fmla="*/ 493 h 1686"/>
                <a:gd name="T52" fmla="*/ 133 w 1601"/>
                <a:gd name="T53" fmla="*/ 623 h 1686"/>
                <a:gd name="T54" fmla="*/ 158 w 1601"/>
                <a:gd name="T55" fmla="*/ 642 h 1686"/>
                <a:gd name="T56" fmla="*/ 168 w 1601"/>
                <a:gd name="T57" fmla="*/ 557 h 1686"/>
                <a:gd name="T58" fmla="*/ 491 w 1601"/>
                <a:gd name="T59" fmla="*/ 553 h 1686"/>
                <a:gd name="T60" fmla="*/ 579 w 1601"/>
                <a:gd name="T61" fmla="*/ 177 h 1686"/>
                <a:gd name="T62" fmla="*/ 533 w 1601"/>
                <a:gd name="T63" fmla="*/ 20 h 1686"/>
                <a:gd name="T64" fmla="*/ 490 w 1601"/>
                <a:gd name="T65" fmla="*/ 26 h 1686"/>
                <a:gd name="T66" fmla="*/ 377 w 1601"/>
                <a:gd name="T67" fmla="*/ 32 h 1686"/>
                <a:gd name="T68" fmla="*/ 83 w 1601"/>
                <a:gd name="T69" fmla="*/ 471 h 1686"/>
                <a:gd name="T70" fmla="*/ 118 w 1601"/>
                <a:gd name="T71" fmla="*/ 444 h 1686"/>
                <a:gd name="T72" fmla="*/ 326 w 1601"/>
                <a:gd name="T73" fmla="*/ 71 h 1686"/>
                <a:gd name="T74" fmla="*/ 475 w 1601"/>
                <a:gd name="T75" fmla="*/ 122 h 1686"/>
                <a:gd name="T76" fmla="*/ 391 w 1601"/>
                <a:gd name="T77" fmla="*/ 155 h 1686"/>
                <a:gd name="T78" fmla="*/ 416 w 1601"/>
                <a:gd name="T79" fmla="*/ 174 h 1686"/>
                <a:gd name="T80" fmla="*/ 544 w 1601"/>
                <a:gd name="T81" fmla="*/ 150 h 16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01" h="1686">
                  <a:moveTo>
                    <a:pt x="1591" y="984"/>
                  </a:moveTo>
                  <a:cubicBezTo>
                    <a:pt x="1585" y="1001"/>
                    <a:pt x="1558" y="1052"/>
                    <a:pt x="1455" y="1052"/>
                  </a:cubicBezTo>
                  <a:cubicBezTo>
                    <a:pt x="1454" y="1052"/>
                    <a:pt x="1452" y="1052"/>
                    <a:pt x="1450" y="1052"/>
                  </a:cubicBezTo>
                  <a:cubicBezTo>
                    <a:pt x="1455" y="1097"/>
                    <a:pt x="1464" y="1191"/>
                    <a:pt x="1460" y="1249"/>
                  </a:cubicBezTo>
                  <a:cubicBezTo>
                    <a:pt x="1459" y="1260"/>
                    <a:pt x="1459" y="1260"/>
                    <a:pt x="1459" y="1260"/>
                  </a:cubicBezTo>
                  <a:cubicBezTo>
                    <a:pt x="1454" y="1341"/>
                    <a:pt x="1451" y="1385"/>
                    <a:pt x="1420" y="1401"/>
                  </a:cubicBezTo>
                  <a:cubicBezTo>
                    <a:pt x="1397" y="1414"/>
                    <a:pt x="1295" y="1433"/>
                    <a:pt x="1138" y="1415"/>
                  </a:cubicBezTo>
                  <a:cubicBezTo>
                    <a:pt x="1138" y="1664"/>
                    <a:pt x="1138" y="1664"/>
                    <a:pt x="1138" y="1664"/>
                  </a:cubicBezTo>
                  <a:cubicBezTo>
                    <a:pt x="1138" y="1676"/>
                    <a:pt x="1128" y="1686"/>
                    <a:pt x="1116" y="1686"/>
                  </a:cubicBezTo>
                  <a:cubicBezTo>
                    <a:pt x="1116" y="1686"/>
                    <a:pt x="1115" y="1686"/>
                    <a:pt x="1115" y="1686"/>
                  </a:cubicBezTo>
                  <a:cubicBezTo>
                    <a:pt x="1092" y="1686"/>
                    <a:pt x="804" y="1684"/>
                    <a:pt x="580" y="1592"/>
                  </a:cubicBezTo>
                  <a:cubicBezTo>
                    <a:pt x="572" y="1589"/>
                    <a:pt x="566" y="1581"/>
                    <a:pt x="566" y="1572"/>
                  </a:cubicBezTo>
                  <a:cubicBezTo>
                    <a:pt x="566" y="1306"/>
                    <a:pt x="566" y="1306"/>
                    <a:pt x="566" y="1306"/>
                  </a:cubicBezTo>
                  <a:cubicBezTo>
                    <a:pt x="566" y="1305"/>
                    <a:pt x="566" y="1305"/>
                    <a:pt x="566" y="1304"/>
                  </a:cubicBezTo>
                  <a:cubicBezTo>
                    <a:pt x="568" y="1306"/>
                    <a:pt x="570" y="1308"/>
                    <a:pt x="571" y="1309"/>
                  </a:cubicBezTo>
                  <a:cubicBezTo>
                    <a:pt x="577" y="1315"/>
                    <a:pt x="595" y="1329"/>
                    <a:pt x="610" y="1339"/>
                  </a:cubicBezTo>
                  <a:cubicBezTo>
                    <a:pt x="610" y="1557"/>
                    <a:pt x="610" y="1557"/>
                    <a:pt x="610" y="1557"/>
                  </a:cubicBezTo>
                  <a:cubicBezTo>
                    <a:pt x="794" y="1628"/>
                    <a:pt x="1023" y="1640"/>
                    <a:pt x="1094" y="1642"/>
                  </a:cubicBezTo>
                  <a:cubicBezTo>
                    <a:pt x="1094" y="1390"/>
                    <a:pt x="1094" y="1390"/>
                    <a:pt x="1094" y="1390"/>
                  </a:cubicBezTo>
                  <a:cubicBezTo>
                    <a:pt x="1094" y="1384"/>
                    <a:pt x="1097" y="1378"/>
                    <a:pt x="1101" y="1373"/>
                  </a:cubicBezTo>
                  <a:cubicBezTo>
                    <a:pt x="1106" y="1369"/>
                    <a:pt x="1112" y="1367"/>
                    <a:pt x="1119" y="1368"/>
                  </a:cubicBezTo>
                  <a:cubicBezTo>
                    <a:pt x="1282" y="1390"/>
                    <a:pt x="1385" y="1370"/>
                    <a:pt x="1400" y="1362"/>
                  </a:cubicBezTo>
                  <a:cubicBezTo>
                    <a:pt x="1409" y="1356"/>
                    <a:pt x="1412" y="1303"/>
                    <a:pt x="1415" y="1257"/>
                  </a:cubicBezTo>
                  <a:cubicBezTo>
                    <a:pt x="1416" y="1247"/>
                    <a:pt x="1416" y="1247"/>
                    <a:pt x="1416" y="1247"/>
                  </a:cubicBezTo>
                  <a:cubicBezTo>
                    <a:pt x="1421" y="1172"/>
                    <a:pt x="1404" y="1033"/>
                    <a:pt x="1404" y="1032"/>
                  </a:cubicBezTo>
                  <a:cubicBezTo>
                    <a:pt x="1403" y="1025"/>
                    <a:pt x="1405" y="1018"/>
                    <a:pt x="1410" y="1014"/>
                  </a:cubicBezTo>
                  <a:cubicBezTo>
                    <a:pt x="1415" y="1009"/>
                    <a:pt x="1421" y="1006"/>
                    <a:pt x="1428" y="1007"/>
                  </a:cubicBezTo>
                  <a:cubicBezTo>
                    <a:pt x="1504" y="1014"/>
                    <a:pt x="1540" y="992"/>
                    <a:pt x="1549" y="971"/>
                  </a:cubicBezTo>
                  <a:cubicBezTo>
                    <a:pt x="1547" y="957"/>
                    <a:pt x="1513" y="921"/>
                    <a:pt x="1497" y="903"/>
                  </a:cubicBezTo>
                  <a:cubicBezTo>
                    <a:pt x="1493" y="899"/>
                    <a:pt x="1488" y="894"/>
                    <a:pt x="1484" y="890"/>
                  </a:cubicBezTo>
                  <a:cubicBezTo>
                    <a:pt x="1455" y="858"/>
                    <a:pt x="1431" y="800"/>
                    <a:pt x="1416" y="757"/>
                  </a:cubicBezTo>
                  <a:cubicBezTo>
                    <a:pt x="1410" y="740"/>
                    <a:pt x="1408" y="717"/>
                    <a:pt x="1406" y="689"/>
                  </a:cubicBezTo>
                  <a:cubicBezTo>
                    <a:pt x="1404" y="662"/>
                    <a:pt x="1401" y="632"/>
                    <a:pt x="1394" y="610"/>
                  </a:cubicBezTo>
                  <a:cubicBezTo>
                    <a:pt x="1381" y="571"/>
                    <a:pt x="1378" y="507"/>
                    <a:pt x="1378" y="482"/>
                  </a:cubicBezTo>
                  <a:cubicBezTo>
                    <a:pt x="1396" y="481"/>
                    <a:pt x="1410" y="480"/>
                    <a:pt x="1422" y="479"/>
                  </a:cubicBezTo>
                  <a:cubicBezTo>
                    <a:pt x="1422" y="500"/>
                    <a:pt x="1424" y="562"/>
                    <a:pt x="1436" y="596"/>
                  </a:cubicBezTo>
                  <a:cubicBezTo>
                    <a:pt x="1445" y="623"/>
                    <a:pt x="1447" y="656"/>
                    <a:pt x="1450" y="686"/>
                  </a:cubicBezTo>
                  <a:cubicBezTo>
                    <a:pt x="1452" y="708"/>
                    <a:pt x="1453" y="731"/>
                    <a:pt x="1458" y="743"/>
                  </a:cubicBezTo>
                  <a:cubicBezTo>
                    <a:pt x="1477" y="798"/>
                    <a:pt x="1498" y="839"/>
                    <a:pt x="1517" y="860"/>
                  </a:cubicBezTo>
                  <a:cubicBezTo>
                    <a:pt x="1521" y="864"/>
                    <a:pt x="1525" y="869"/>
                    <a:pt x="1529" y="873"/>
                  </a:cubicBezTo>
                  <a:cubicBezTo>
                    <a:pt x="1573" y="921"/>
                    <a:pt x="1601" y="954"/>
                    <a:pt x="1591" y="984"/>
                  </a:cubicBezTo>
                  <a:close/>
                  <a:moveTo>
                    <a:pt x="579" y="177"/>
                  </a:moveTo>
                  <a:cubicBezTo>
                    <a:pt x="570" y="189"/>
                    <a:pt x="557" y="198"/>
                    <a:pt x="542" y="201"/>
                  </a:cubicBezTo>
                  <a:cubicBezTo>
                    <a:pt x="568" y="249"/>
                    <a:pt x="576" y="304"/>
                    <a:pt x="567" y="359"/>
                  </a:cubicBezTo>
                  <a:cubicBezTo>
                    <a:pt x="555" y="423"/>
                    <a:pt x="519" y="479"/>
                    <a:pt x="466" y="516"/>
                  </a:cubicBezTo>
                  <a:cubicBezTo>
                    <a:pt x="412" y="554"/>
                    <a:pt x="347" y="568"/>
                    <a:pt x="283" y="556"/>
                  </a:cubicBezTo>
                  <a:cubicBezTo>
                    <a:pt x="250" y="551"/>
                    <a:pt x="220" y="538"/>
                    <a:pt x="193" y="521"/>
                  </a:cubicBezTo>
                  <a:cubicBezTo>
                    <a:pt x="256" y="513"/>
                    <a:pt x="256" y="513"/>
                    <a:pt x="256" y="513"/>
                  </a:cubicBezTo>
                  <a:cubicBezTo>
                    <a:pt x="268" y="511"/>
                    <a:pt x="277" y="500"/>
                    <a:pt x="275" y="488"/>
                  </a:cubicBezTo>
                  <a:cubicBezTo>
                    <a:pt x="273" y="476"/>
                    <a:pt x="262" y="467"/>
                    <a:pt x="250" y="469"/>
                  </a:cubicBezTo>
                  <a:cubicBezTo>
                    <a:pt x="136" y="484"/>
                    <a:pt x="136" y="484"/>
                    <a:pt x="136" y="484"/>
                  </a:cubicBezTo>
                  <a:cubicBezTo>
                    <a:pt x="131" y="485"/>
                    <a:pt x="125" y="488"/>
                    <a:pt x="122" y="493"/>
                  </a:cubicBezTo>
                  <a:cubicBezTo>
                    <a:pt x="118" y="497"/>
                    <a:pt x="117" y="503"/>
                    <a:pt x="118" y="509"/>
                  </a:cubicBezTo>
                  <a:cubicBezTo>
                    <a:pt x="133" y="623"/>
                    <a:pt x="133" y="623"/>
                    <a:pt x="133" y="623"/>
                  </a:cubicBezTo>
                  <a:cubicBezTo>
                    <a:pt x="134" y="634"/>
                    <a:pt x="144" y="642"/>
                    <a:pt x="155" y="642"/>
                  </a:cubicBezTo>
                  <a:cubicBezTo>
                    <a:pt x="156" y="642"/>
                    <a:pt x="157" y="642"/>
                    <a:pt x="158" y="642"/>
                  </a:cubicBezTo>
                  <a:cubicBezTo>
                    <a:pt x="170" y="640"/>
                    <a:pt x="178" y="629"/>
                    <a:pt x="176" y="617"/>
                  </a:cubicBezTo>
                  <a:cubicBezTo>
                    <a:pt x="168" y="557"/>
                    <a:pt x="168" y="557"/>
                    <a:pt x="168" y="557"/>
                  </a:cubicBezTo>
                  <a:cubicBezTo>
                    <a:pt x="216" y="588"/>
                    <a:pt x="271" y="604"/>
                    <a:pt x="326" y="604"/>
                  </a:cubicBezTo>
                  <a:cubicBezTo>
                    <a:pt x="383" y="604"/>
                    <a:pt x="441" y="587"/>
                    <a:pt x="491" y="553"/>
                  </a:cubicBezTo>
                  <a:cubicBezTo>
                    <a:pt x="554" y="509"/>
                    <a:pt x="596" y="443"/>
                    <a:pt x="610" y="367"/>
                  </a:cubicBezTo>
                  <a:cubicBezTo>
                    <a:pt x="622" y="301"/>
                    <a:pt x="611" y="235"/>
                    <a:pt x="579" y="177"/>
                  </a:cubicBezTo>
                  <a:close/>
                  <a:moveTo>
                    <a:pt x="548" y="134"/>
                  </a:moveTo>
                  <a:cubicBezTo>
                    <a:pt x="533" y="20"/>
                    <a:pt x="533" y="20"/>
                    <a:pt x="533" y="20"/>
                  </a:cubicBezTo>
                  <a:cubicBezTo>
                    <a:pt x="532" y="8"/>
                    <a:pt x="520" y="0"/>
                    <a:pt x="508" y="1"/>
                  </a:cubicBezTo>
                  <a:cubicBezTo>
                    <a:pt x="496" y="3"/>
                    <a:pt x="488" y="14"/>
                    <a:pt x="490" y="26"/>
                  </a:cubicBezTo>
                  <a:cubicBezTo>
                    <a:pt x="497" y="84"/>
                    <a:pt x="497" y="84"/>
                    <a:pt x="497" y="84"/>
                  </a:cubicBezTo>
                  <a:cubicBezTo>
                    <a:pt x="462" y="58"/>
                    <a:pt x="421" y="40"/>
                    <a:pt x="377" y="32"/>
                  </a:cubicBezTo>
                  <a:cubicBezTo>
                    <a:pt x="301" y="18"/>
                    <a:pt x="225" y="35"/>
                    <a:pt x="161" y="79"/>
                  </a:cubicBezTo>
                  <a:cubicBezTo>
                    <a:pt x="34" y="168"/>
                    <a:pt x="0" y="342"/>
                    <a:pt x="83" y="471"/>
                  </a:cubicBezTo>
                  <a:cubicBezTo>
                    <a:pt x="84" y="470"/>
                    <a:pt x="86" y="468"/>
                    <a:pt x="87" y="466"/>
                  </a:cubicBezTo>
                  <a:cubicBezTo>
                    <a:pt x="95" y="456"/>
                    <a:pt x="106" y="448"/>
                    <a:pt x="118" y="444"/>
                  </a:cubicBezTo>
                  <a:cubicBezTo>
                    <a:pt x="51" y="334"/>
                    <a:pt x="80" y="189"/>
                    <a:pt x="187" y="115"/>
                  </a:cubicBezTo>
                  <a:cubicBezTo>
                    <a:pt x="228" y="86"/>
                    <a:pt x="276" y="71"/>
                    <a:pt x="326" y="71"/>
                  </a:cubicBezTo>
                  <a:cubicBezTo>
                    <a:pt x="340" y="71"/>
                    <a:pt x="355" y="73"/>
                    <a:pt x="369" y="75"/>
                  </a:cubicBezTo>
                  <a:cubicBezTo>
                    <a:pt x="408" y="82"/>
                    <a:pt x="444" y="98"/>
                    <a:pt x="475" y="122"/>
                  </a:cubicBezTo>
                  <a:cubicBezTo>
                    <a:pt x="410" y="130"/>
                    <a:pt x="410" y="130"/>
                    <a:pt x="410" y="130"/>
                  </a:cubicBezTo>
                  <a:cubicBezTo>
                    <a:pt x="398" y="132"/>
                    <a:pt x="389" y="143"/>
                    <a:pt x="391" y="155"/>
                  </a:cubicBezTo>
                  <a:cubicBezTo>
                    <a:pt x="392" y="166"/>
                    <a:pt x="402" y="174"/>
                    <a:pt x="413" y="174"/>
                  </a:cubicBezTo>
                  <a:cubicBezTo>
                    <a:pt x="414" y="174"/>
                    <a:pt x="415" y="174"/>
                    <a:pt x="416" y="174"/>
                  </a:cubicBezTo>
                  <a:cubicBezTo>
                    <a:pt x="530" y="159"/>
                    <a:pt x="530" y="159"/>
                    <a:pt x="530" y="159"/>
                  </a:cubicBezTo>
                  <a:cubicBezTo>
                    <a:pt x="535" y="158"/>
                    <a:pt x="541" y="155"/>
                    <a:pt x="544" y="150"/>
                  </a:cubicBezTo>
                  <a:cubicBezTo>
                    <a:pt x="548" y="146"/>
                    <a:pt x="549" y="140"/>
                    <a:pt x="548" y="134"/>
                  </a:cubicBez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solidFill>
                <a:srgbClr val="6E6F73"/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sp>
        <p:nvSpPr>
          <p:cNvPr id="51" name="Rectangle 50"/>
          <p:cNvSpPr/>
          <p:nvPr/>
        </p:nvSpPr>
        <p:spPr>
          <a:xfrm>
            <a:off x="5634884" y="4000766"/>
            <a:ext cx="991856" cy="18956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900" dirty="0">
                <a:solidFill>
                  <a:srgbClr val="575757"/>
                </a:solidFill>
              </a:rPr>
              <a:t>Электронная идентификация</a:t>
            </a:r>
          </a:p>
        </p:txBody>
      </p:sp>
      <p:sp>
        <p:nvSpPr>
          <p:cNvPr id="52" name="Rectangle 51"/>
          <p:cNvSpPr/>
          <p:nvPr/>
        </p:nvSpPr>
        <p:spPr>
          <a:xfrm>
            <a:off x="1757620" y="4105381"/>
            <a:ext cx="1135855" cy="20164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900" dirty="0">
                <a:solidFill>
                  <a:srgbClr val="575757"/>
                </a:solidFill>
              </a:rPr>
              <a:t>Электронный документооборот</a:t>
            </a:r>
          </a:p>
        </p:txBody>
      </p:sp>
      <p:grpSp>
        <p:nvGrpSpPr>
          <p:cNvPr id="53" name="bcgIcons_OnlineSurvey">
            <a:extLst>
              <a:ext uri="{FF2B5EF4-FFF2-40B4-BE49-F238E27FC236}">
                <a16:creationId xmlns:a16="http://schemas.microsoft.com/office/drawing/2014/main" xmlns="" id="{CCAB0122-FDA7-49F3-8030-839DDEFF3D5C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134424" y="3667319"/>
            <a:ext cx="431777" cy="432310"/>
            <a:chOff x="1682" y="0"/>
            <a:chExt cx="4316" cy="4320"/>
          </a:xfrm>
        </p:grpSpPr>
        <p:sp>
          <p:nvSpPr>
            <p:cNvPr id="54" name="AutoShape 8">
              <a:extLst>
                <a:ext uri="{FF2B5EF4-FFF2-40B4-BE49-F238E27FC236}">
                  <a16:creationId xmlns:a16="http://schemas.microsoft.com/office/drawing/2014/main" xmlns="" id="{38A75AF0-74B4-4425-8C12-A7326994BF99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5" name="Freeform 10">
              <a:extLst>
                <a:ext uri="{FF2B5EF4-FFF2-40B4-BE49-F238E27FC236}">
                  <a16:creationId xmlns:a16="http://schemas.microsoft.com/office/drawing/2014/main" xmlns="" id="{562602CA-7A6E-4E97-94C5-3C4BB3424A0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85" y="720"/>
              <a:ext cx="3510" cy="2876"/>
            </a:xfrm>
            <a:custGeom>
              <a:avLst/>
              <a:gdLst>
                <a:gd name="T0" fmla="*/ 1327 w 1874"/>
                <a:gd name="T1" fmla="*/ 1534 h 1534"/>
                <a:gd name="T2" fmla="*/ 547 w 1874"/>
                <a:gd name="T3" fmla="*/ 1534 h 1534"/>
                <a:gd name="T4" fmla="*/ 525 w 1874"/>
                <a:gd name="T5" fmla="*/ 1512 h 1534"/>
                <a:gd name="T6" fmla="*/ 525 w 1874"/>
                <a:gd name="T7" fmla="*/ 1436 h 1534"/>
                <a:gd name="T8" fmla="*/ 547 w 1874"/>
                <a:gd name="T9" fmla="*/ 1414 h 1534"/>
                <a:gd name="T10" fmla="*/ 753 w 1874"/>
                <a:gd name="T11" fmla="*/ 1414 h 1534"/>
                <a:gd name="T12" fmla="*/ 753 w 1874"/>
                <a:gd name="T13" fmla="*/ 1366 h 1534"/>
                <a:gd name="T14" fmla="*/ 775 w 1874"/>
                <a:gd name="T15" fmla="*/ 1344 h 1534"/>
                <a:gd name="T16" fmla="*/ 797 w 1874"/>
                <a:gd name="T17" fmla="*/ 1366 h 1534"/>
                <a:gd name="T18" fmla="*/ 797 w 1874"/>
                <a:gd name="T19" fmla="*/ 1436 h 1534"/>
                <a:gd name="T20" fmla="*/ 775 w 1874"/>
                <a:gd name="T21" fmla="*/ 1458 h 1534"/>
                <a:gd name="T22" fmla="*/ 569 w 1874"/>
                <a:gd name="T23" fmla="*/ 1458 h 1534"/>
                <a:gd name="T24" fmla="*/ 569 w 1874"/>
                <a:gd name="T25" fmla="*/ 1490 h 1534"/>
                <a:gd name="T26" fmla="*/ 1305 w 1874"/>
                <a:gd name="T27" fmla="*/ 1490 h 1534"/>
                <a:gd name="T28" fmla="*/ 1305 w 1874"/>
                <a:gd name="T29" fmla="*/ 1458 h 1534"/>
                <a:gd name="T30" fmla="*/ 1101 w 1874"/>
                <a:gd name="T31" fmla="*/ 1458 h 1534"/>
                <a:gd name="T32" fmla="*/ 1079 w 1874"/>
                <a:gd name="T33" fmla="*/ 1436 h 1534"/>
                <a:gd name="T34" fmla="*/ 1079 w 1874"/>
                <a:gd name="T35" fmla="*/ 1366 h 1534"/>
                <a:gd name="T36" fmla="*/ 1101 w 1874"/>
                <a:gd name="T37" fmla="*/ 1344 h 1534"/>
                <a:gd name="T38" fmla="*/ 1123 w 1874"/>
                <a:gd name="T39" fmla="*/ 1366 h 1534"/>
                <a:gd name="T40" fmla="*/ 1123 w 1874"/>
                <a:gd name="T41" fmla="*/ 1414 h 1534"/>
                <a:gd name="T42" fmla="*/ 1327 w 1874"/>
                <a:gd name="T43" fmla="*/ 1414 h 1534"/>
                <a:gd name="T44" fmla="*/ 1349 w 1874"/>
                <a:gd name="T45" fmla="*/ 1436 h 1534"/>
                <a:gd name="T46" fmla="*/ 1349 w 1874"/>
                <a:gd name="T47" fmla="*/ 1512 h 1534"/>
                <a:gd name="T48" fmla="*/ 1327 w 1874"/>
                <a:gd name="T49" fmla="*/ 1534 h 1534"/>
                <a:gd name="T50" fmla="*/ 1874 w 1874"/>
                <a:gd name="T51" fmla="*/ 22 h 1534"/>
                <a:gd name="T52" fmla="*/ 1874 w 1874"/>
                <a:gd name="T53" fmla="*/ 1284 h 1534"/>
                <a:gd name="T54" fmla="*/ 1852 w 1874"/>
                <a:gd name="T55" fmla="*/ 1306 h 1534"/>
                <a:gd name="T56" fmla="*/ 22 w 1874"/>
                <a:gd name="T57" fmla="*/ 1306 h 1534"/>
                <a:gd name="T58" fmla="*/ 0 w 1874"/>
                <a:gd name="T59" fmla="*/ 1284 h 1534"/>
                <a:gd name="T60" fmla="*/ 0 w 1874"/>
                <a:gd name="T61" fmla="*/ 22 h 1534"/>
                <a:gd name="T62" fmla="*/ 22 w 1874"/>
                <a:gd name="T63" fmla="*/ 0 h 1534"/>
                <a:gd name="T64" fmla="*/ 1852 w 1874"/>
                <a:gd name="T65" fmla="*/ 0 h 1534"/>
                <a:gd name="T66" fmla="*/ 1874 w 1874"/>
                <a:gd name="T67" fmla="*/ 22 h 1534"/>
                <a:gd name="T68" fmla="*/ 44 w 1874"/>
                <a:gd name="T69" fmla="*/ 44 h 1534"/>
                <a:gd name="T70" fmla="*/ 44 w 1874"/>
                <a:gd name="T71" fmla="*/ 1091 h 1534"/>
                <a:gd name="T72" fmla="*/ 1830 w 1874"/>
                <a:gd name="T73" fmla="*/ 1091 h 1534"/>
                <a:gd name="T74" fmla="*/ 1830 w 1874"/>
                <a:gd name="T75" fmla="*/ 44 h 1534"/>
                <a:gd name="T76" fmla="*/ 44 w 1874"/>
                <a:gd name="T77" fmla="*/ 44 h 1534"/>
                <a:gd name="T78" fmla="*/ 1830 w 1874"/>
                <a:gd name="T79" fmla="*/ 1262 h 1534"/>
                <a:gd name="T80" fmla="*/ 1830 w 1874"/>
                <a:gd name="T81" fmla="*/ 1135 h 1534"/>
                <a:gd name="T82" fmla="*/ 44 w 1874"/>
                <a:gd name="T83" fmla="*/ 1135 h 1534"/>
                <a:gd name="T84" fmla="*/ 44 w 1874"/>
                <a:gd name="T85" fmla="*/ 1262 h 1534"/>
                <a:gd name="T86" fmla="*/ 1830 w 1874"/>
                <a:gd name="T87" fmla="*/ 1262 h 15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1874" h="1534">
                  <a:moveTo>
                    <a:pt x="1327" y="1534"/>
                  </a:moveTo>
                  <a:cubicBezTo>
                    <a:pt x="547" y="1534"/>
                    <a:pt x="547" y="1534"/>
                    <a:pt x="547" y="1534"/>
                  </a:cubicBezTo>
                  <a:cubicBezTo>
                    <a:pt x="535" y="1534"/>
                    <a:pt x="525" y="1524"/>
                    <a:pt x="525" y="1512"/>
                  </a:cubicBezTo>
                  <a:cubicBezTo>
                    <a:pt x="525" y="1436"/>
                    <a:pt x="525" y="1436"/>
                    <a:pt x="525" y="1436"/>
                  </a:cubicBezTo>
                  <a:cubicBezTo>
                    <a:pt x="525" y="1424"/>
                    <a:pt x="535" y="1414"/>
                    <a:pt x="547" y="1414"/>
                  </a:cubicBezTo>
                  <a:cubicBezTo>
                    <a:pt x="753" y="1414"/>
                    <a:pt x="753" y="1414"/>
                    <a:pt x="753" y="1414"/>
                  </a:cubicBezTo>
                  <a:cubicBezTo>
                    <a:pt x="753" y="1366"/>
                    <a:pt x="753" y="1366"/>
                    <a:pt x="753" y="1366"/>
                  </a:cubicBezTo>
                  <a:cubicBezTo>
                    <a:pt x="753" y="1354"/>
                    <a:pt x="763" y="1344"/>
                    <a:pt x="775" y="1344"/>
                  </a:cubicBezTo>
                  <a:cubicBezTo>
                    <a:pt x="787" y="1344"/>
                    <a:pt x="797" y="1354"/>
                    <a:pt x="797" y="1366"/>
                  </a:cubicBezTo>
                  <a:cubicBezTo>
                    <a:pt x="797" y="1436"/>
                    <a:pt x="797" y="1436"/>
                    <a:pt x="797" y="1436"/>
                  </a:cubicBezTo>
                  <a:cubicBezTo>
                    <a:pt x="797" y="1448"/>
                    <a:pt x="787" y="1458"/>
                    <a:pt x="775" y="1458"/>
                  </a:cubicBezTo>
                  <a:cubicBezTo>
                    <a:pt x="569" y="1458"/>
                    <a:pt x="569" y="1458"/>
                    <a:pt x="569" y="1458"/>
                  </a:cubicBezTo>
                  <a:cubicBezTo>
                    <a:pt x="569" y="1490"/>
                    <a:pt x="569" y="1490"/>
                    <a:pt x="569" y="1490"/>
                  </a:cubicBezTo>
                  <a:cubicBezTo>
                    <a:pt x="1305" y="1490"/>
                    <a:pt x="1305" y="1490"/>
                    <a:pt x="1305" y="1490"/>
                  </a:cubicBezTo>
                  <a:cubicBezTo>
                    <a:pt x="1305" y="1458"/>
                    <a:pt x="1305" y="1458"/>
                    <a:pt x="1305" y="1458"/>
                  </a:cubicBezTo>
                  <a:cubicBezTo>
                    <a:pt x="1101" y="1458"/>
                    <a:pt x="1101" y="1458"/>
                    <a:pt x="1101" y="1458"/>
                  </a:cubicBezTo>
                  <a:cubicBezTo>
                    <a:pt x="1089" y="1458"/>
                    <a:pt x="1079" y="1448"/>
                    <a:pt x="1079" y="1436"/>
                  </a:cubicBezTo>
                  <a:cubicBezTo>
                    <a:pt x="1079" y="1366"/>
                    <a:pt x="1079" y="1366"/>
                    <a:pt x="1079" y="1366"/>
                  </a:cubicBezTo>
                  <a:cubicBezTo>
                    <a:pt x="1079" y="1354"/>
                    <a:pt x="1089" y="1344"/>
                    <a:pt x="1101" y="1344"/>
                  </a:cubicBezTo>
                  <a:cubicBezTo>
                    <a:pt x="1114" y="1344"/>
                    <a:pt x="1123" y="1354"/>
                    <a:pt x="1123" y="1366"/>
                  </a:cubicBezTo>
                  <a:cubicBezTo>
                    <a:pt x="1123" y="1414"/>
                    <a:pt x="1123" y="1414"/>
                    <a:pt x="1123" y="1414"/>
                  </a:cubicBezTo>
                  <a:cubicBezTo>
                    <a:pt x="1327" y="1414"/>
                    <a:pt x="1327" y="1414"/>
                    <a:pt x="1327" y="1414"/>
                  </a:cubicBezTo>
                  <a:cubicBezTo>
                    <a:pt x="1339" y="1414"/>
                    <a:pt x="1349" y="1424"/>
                    <a:pt x="1349" y="1436"/>
                  </a:cubicBezTo>
                  <a:cubicBezTo>
                    <a:pt x="1349" y="1512"/>
                    <a:pt x="1349" y="1512"/>
                    <a:pt x="1349" y="1512"/>
                  </a:cubicBezTo>
                  <a:cubicBezTo>
                    <a:pt x="1349" y="1524"/>
                    <a:pt x="1339" y="1534"/>
                    <a:pt x="1327" y="1534"/>
                  </a:cubicBezTo>
                  <a:close/>
                  <a:moveTo>
                    <a:pt x="1874" y="22"/>
                  </a:moveTo>
                  <a:cubicBezTo>
                    <a:pt x="1874" y="1284"/>
                    <a:pt x="1874" y="1284"/>
                    <a:pt x="1874" y="1284"/>
                  </a:cubicBezTo>
                  <a:cubicBezTo>
                    <a:pt x="1874" y="1296"/>
                    <a:pt x="1864" y="1306"/>
                    <a:pt x="1852" y="1306"/>
                  </a:cubicBezTo>
                  <a:cubicBezTo>
                    <a:pt x="22" y="1306"/>
                    <a:pt x="22" y="1306"/>
                    <a:pt x="22" y="1306"/>
                  </a:cubicBezTo>
                  <a:cubicBezTo>
                    <a:pt x="10" y="1306"/>
                    <a:pt x="0" y="1296"/>
                    <a:pt x="0" y="1284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1852" y="0"/>
                    <a:pt x="1852" y="0"/>
                    <a:pt x="1852" y="0"/>
                  </a:cubicBezTo>
                  <a:cubicBezTo>
                    <a:pt x="1864" y="0"/>
                    <a:pt x="1874" y="10"/>
                    <a:pt x="1874" y="22"/>
                  </a:cubicBezTo>
                  <a:close/>
                  <a:moveTo>
                    <a:pt x="44" y="44"/>
                  </a:moveTo>
                  <a:cubicBezTo>
                    <a:pt x="44" y="1091"/>
                    <a:pt x="44" y="1091"/>
                    <a:pt x="44" y="1091"/>
                  </a:cubicBezTo>
                  <a:cubicBezTo>
                    <a:pt x="1830" y="1091"/>
                    <a:pt x="1830" y="1091"/>
                    <a:pt x="1830" y="1091"/>
                  </a:cubicBezTo>
                  <a:cubicBezTo>
                    <a:pt x="1830" y="44"/>
                    <a:pt x="1830" y="44"/>
                    <a:pt x="1830" y="44"/>
                  </a:cubicBezTo>
                  <a:lnTo>
                    <a:pt x="44" y="44"/>
                  </a:lnTo>
                  <a:close/>
                  <a:moveTo>
                    <a:pt x="1830" y="1262"/>
                  </a:moveTo>
                  <a:cubicBezTo>
                    <a:pt x="1830" y="1135"/>
                    <a:pt x="1830" y="1135"/>
                    <a:pt x="1830" y="1135"/>
                  </a:cubicBezTo>
                  <a:cubicBezTo>
                    <a:pt x="44" y="1135"/>
                    <a:pt x="44" y="1135"/>
                    <a:pt x="44" y="1135"/>
                  </a:cubicBezTo>
                  <a:cubicBezTo>
                    <a:pt x="44" y="1262"/>
                    <a:pt x="44" y="1262"/>
                    <a:pt x="44" y="1262"/>
                  </a:cubicBezTo>
                  <a:lnTo>
                    <a:pt x="1830" y="1262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 algn="ctr">
              <a:solidFill>
                <a:srgbClr val="6E6F73"/>
              </a:solidFill>
              <a:prstDash val="solid"/>
              <a:round/>
              <a:headEnd type="none" w="med" len="med"/>
              <a:tailEnd type="none" w="med" len="med"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56" name="Freeform 11">
              <a:extLst>
                <a:ext uri="{FF2B5EF4-FFF2-40B4-BE49-F238E27FC236}">
                  <a16:creationId xmlns:a16="http://schemas.microsoft.com/office/drawing/2014/main" xmlns="" id="{D13392B9-3AD6-478C-9567-8FEEB0FCED2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261" y="906"/>
              <a:ext cx="3158" cy="2148"/>
            </a:xfrm>
            <a:custGeom>
              <a:avLst/>
              <a:gdLst>
                <a:gd name="T0" fmla="*/ 799 w 1686"/>
                <a:gd name="T1" fmla="*/ 1102 h 1146"/>
                <a:gd name="T2" fmla="*/ 843 w 1686"/>
                <a:gd name="T3" fmla="*/ 1057 h 1146"/>
                <a:gd name="T4" fmla="*/ 887 w 1686"/>
                <a:gd name="T5" fmla="*/ 1102 h 1146"/>
                <a:gd name="T6" fmla="*/ 843 w 1686"/>
                <a:gd name="T7" fmla="*/ 1146 h 1146"/>
                <a:gd name="T8" fmla="*/ 799 w 1686"/>
                <a:gd name="T9" fmla="*/ 1102 h 1146"/>
                <a:gd name="T10" fmla="*/ 327 w 1686"/>
                <a:gd name="T11" fmla="*/ 518 h 1146"/>
                <a:gd name="T12" fmla="*/ 325 w 1686"/>
                <a:gd name="T13" fmla="*/ 518 h 1146"/>
                <a:gd name="T14" fmla="*/ 303 w 1686"/>
                <a:gd name="T15" fmla="*/ 505 h 1146"/>
                <a:gd name="T16" fmla="*/ 254 w 1686"/>
                <a:gd name="T17" fmla="*/ 436 h 1146"/>
                <a:gd name="T18" fmla="*/ 261 w 1686"/>
                <a:gd name="T19" fmla="*/ 394 h 1146"/>
                <a:gd name="T20" fmla="*/ 303 w 1686"/>
                <a:gd name="T21" fmla="*/ 401 h 1146"/>
                <a:gd name="T22" fmla="*/ 330 w 1686"/>
                <a:gd name="T23" fmla="*/ 440 h 1146"/>
                <a:gd name="T24" fmla="*/ 415 w 1686"/>
                <a:gd name="T25" fmla="*/ 347 h 1146"/>
                <a:gd name="T26" fmla="*/ 215 w 1686"/>
                <a:gd name="T27" fmla="*/ 347 h 1146"/>
                <a:gd name="T28" fmla="*/ 215 w 1686"/>
                <a:gd name="T29" fmla="*/ 574 h 1146"/>
                <a:gd name="T30" fmla="*/ 441 w 1686"/>
                <a:gd name="T31" fmla="*/ 574 h 1146"/>
                <a:gd name="T32" fmla="*/ 441 w 1686"/>
                <a:gd name="T33" fmla="*/ 407 h 1146"/>
                <a:gd name="T34" fmla="*/ 350 w 1686"/>
                <a:gd name="T35" fmla="*/ 508 h 1146"/>
                <a:gd name="T36" fmla="*/ 327 w 1686"/>
                <a:gd name="T37" fmla="*/ 518 h 1146"/>
                <a:gd name="T38" fmla="*/ 1686 w 1686"/>
                <a:gd name="T39" fmla="*/ 10 h 1146"/>
                <a:gd name="T40" fmla="*/ 1686 w 1686"/>
                <a:gd name="T41" fmla="*/ 926 h 1146"/>
                <a:gd name="T42" fmla="*/ 1676 w 1686"/>
                <a:gd name="T43" fmla="*/ 936 h 1146"/>
                <a:gd name="T44" fmla="*/ 10 w 1686"/>
                <a:gd name="T45" fmla="*/ 936 h 1146"/>
                <a:gd name="T46" fmla="*/ 0 w 1686"/>
                <a:gd name="T47" fmla="*/ 926 h 1146"/>
                <a:gd name="T48" fmla="*/ 0 w 1686"/>
                <a:gd name="T49" fmla="*/ 10 h 1146"/>
                <a:gd name="T50" fmla="*/ 10 w 1686"/>
                <a:gd name="T51" fmla="*/ 0 h 1146"/>
                <a:gd name="T52" fmla="*/ 1676 w 1686"/>
                <a:gd name="T53" fmla="*/ 0 h 1146"/>
                <a:gd name="T54" fmla="*/ 1686 w 1686"/>
                <a:gd name="T55" fmla="*/ 10 h 1146"/>
                <a:gd name="T56" fmla="*/ 555 w 1686"/>
                <a:gd name="T57" fmla="*/ 238 h 1146"/>
                <a:gd name="T58" fmla="*/ 512 w 1686"/>
                <a:gd name="T59" fmla="*/ 240 h 1146"/>
                <a:gd name="T60" fmla="*/ 469 w 1686"/>
                <a:gd name="T61" fmla="*/ 287 h 1146"/>
                <a:gd name="T62" fmla="*/ 185 w 1686"/>
                <a:gd name="T63" fmla="*/ 287 h 1146"/>
                <a:gd name="T64" fmla="*/ 155 w 1686"/>
                <a:gd name="T65" fmla="*/ 317 h 1146"/>
                <a:gd name="T66" fmla="*/ 155 w 1686"/>
                <a:gd name="T67" fmla="*/ 604 h 1146"/>
                <a:gd name="T68" fmla="*/ 185 w 1686"/>
                <a:gd name="T69" fmla="*/ 634 h 1146"/>
                <a:gd name="T70" fmla="*/ 471 w 1686"/>
                <a:gd name="T71" fmla="*/ 634 h 1146"/>
                <a:gd name="T72" fmla="*/ 501 w 1686"/>
                <a:gd name="T73" fmla="*/ 604 h 1146"/>
                <a:gd name="T74" fmla="*/ 501 w 1686"/>
                <a:gd name="T75" fmla="*/ 341 h 1146"/>
                <a:gd name="T76" fmla="*/ 557 w 1686"/>
                <a:gd name="T77" fmla="*/ 280 h 1146"/>
                <a:gd name="T78" fmla="*/ 555 w 1686"/>
                <a:gd name="T79" fmla="*/ 238 h 1146"/>
                <a:gd name="T80" fmla="*/ 1531 w 1686"/>
                <a:gd name="T81" fmla="*/ 562 h 1146"/>
                <a:gd name="T82" fmla="*/ 1501 w 1686"/>
                <a:gd name="T83" fmla="*/ 532 h 1146"/>
                <a:gd name="T84" fmla="*/ 691 w 1686"/>
                <a:gd name="T85" fmla="*/ 532 h 1146"/>
                <a:gd name="T86" fmla="*/ 661 w 1686"/>
                <a:gd name="T87" fmla="*/ 562 h 1146"/>
                <a:gd name="T88" fmla="*/ 691 w 1686"/>
                <a:gd name="T89" fmla="*/ 592 h 1146"/>
                <a:gd name="T90" fmla="*/ 1501 w 1686"/>
                <a:gd name="T91" fmla="*/ 592 h 1146"/>
                <a:gd name="T92" fmla="*/ 1531 w 1686"/>
                <a:gd name="T93" fmla="*/ 562 h 1146"/>
                <a:gd name="T94" fmla="*/ 1531 w 1686"/>
                <a:gd name="T95" fmla="*/ 358 h 1146"/>
                <a:gd name="T96" fmla="*/ 1501 w 1686"/>
                <a:gd name="T97" fmla="*/ 328 h 1146"/>
                <a:gd name="T98" fmla="*/ 691 w 1686"/>
                <a:gd name="T99" fmla="*/ 328 h 1146"/>
                <a:gd name="T100" fmla="*/ 661 w 1686"/>
                <a:gd name="T101" fmla="*/ 358 h 1146"/>
                <a:gd name="T102" fmla="*/ 691 w 1686"/>
                <a:gd name="T103" fmla="*/ 388 h 1146"/>
                <a:gd name="T104" fmla="*/ 1501 w 1686"/>
                <a:gd name="T105" fmla="*/ 388 h 1146"/>
                <a:gd name="T106" fmla="*/ 1531 w 1686"/>
                <a:gd name="T107" fmla="*/ 358 h 1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686" h="1146">
                  <a:moveTo>
                    <a:pt x="799" y="1102"/>
                  </a:moveTo>
                  <a:cubicBezTo>
                    <a:pt x="799" y="1077"/>
                    <a:pt x="818" y="1057"/>
                    <a:pt x="843" y="1057"/>
                  </a:cubicBezTo>
                  <a:cubicBezTo>
                    <a:pt x="868" y="1057"/>
                    <a:pt x="887" y="1077"/>
                    <a:pt x="887" y="1102"/>
                  </a:cubicBezTo>
                  <a:cubicBezTo>
                    <a:pt x="887" y="1126"/>
                    <a:pt x="868" y="1146"/>
                    <a:pt x="843" y="1146"/>
                  </a:cubicBezTo>
                  <a:cubicBezTo>
                    <a:pt x="818" y="1146"/>
                    <a:pt x="799" y="1126"/>
                    <a:pt x="799" y="1102"/>
                  </a:cubicBezTo>
                  <a:close/>
                  <a:moveTo>
                    <a:pt x="327" y="518"/>
                  </a:moveTo>
                  <a:cubicBezTo>
                    <a:pt x="327" y="518"/>
                    <a:pt x="326" y="518"/>
                    <a:pt x="325" y="518"/>
                  </a:cubicBezTo>
                  <a:cubicBezTo>
                    <a:pt x="316" y="517"/>
                    <a:pt x="308" y="513"/>
                    <a:pt x="303" y="505"/>
                  </a:cubicBezTo>
                  <a:cubicBezTo>
                    <a:pt x="254" y="436"/>
                    <a:pt x="254" y="436"/>
                    <a:pt x="254" y="436"/>
                  </a:cubicBezTo>
                  <a:cubicBezTo>
                    <a:pt x="245" y="422"/>
                    <a:pt x="248" y="404"/>
                    <a:pt x="261" y="394"/>
                  </a:cubicBezTo>
                  <a:cubicBezTo>
                    <a:pt x="275" y="385"/>
                    <a:pt x="294" y="388"/>
                    <a:pt x="303" y="401"/>
                  </a:cubicBezTo>
                  <a:cubicBezTo>
                    <a:pt x="330" y="440"/>
                    <a:pt x="330" y="440"/>
                    <a:pt x="330" y="440"/>
                  </a:cubicBezTo>
                  <a:cubicBezTo>
                    <a:pt x="415" y="347"/>
                    <a:pt x="415" y="347"/>
                    <a:pt x="415" y="347"/>
                  </a:cubicBezTo>
                  <a:cubicBezTo>
                    <a:pt x="215" y="347"/>
                    <a:pt x="215" y="347"/>
                    <a:pt x="215" y="347"/>
                  </a:cubicBezTo>
                  <a:cubicBezTo>
                    <a:pt x="215" y="574"/>
                    <a:pt x="215" y="574"/>
                    <a:pt x="215" y="574"/>
                  </a:cubicBezTo>
                  <a:cubicBezTo>
                    <a:pt x="441" y="574"/>
                    <a:pt x="441" y="574"/>
                    <a:pt x="441" y="574"/>
                  </a:cubicBezTo>
                  <a:cubicBezTo>
                    <a:pt x="441" y="407"/>
                    <a:pt x="441" y="407"/>
                    <a:pt x="441" y="407"/>
                  </a:cubicBezTo>
                  <a:cubicBezTo>
                    <a:pt x="350" y="508"/>
                    <a:pt x="350" y="508"/>
                    <a:pt x="350" y="508"/>
                  </a:cubicBezTo>
                  <a:cubicBezTo>
                    <a:pt x="344" y="514"/>
                    <a:pt x="336" y="518"/>
                    <a:pt x="327" y="518"/>
                  </a:cubicBezTo>
                  <a:close/>
                  <a:moveTo>
                    <a:pt x="1686" y="10"/>
                  </a:moveTo>
                  <a:cubicBezTo>
                    <a:pt x="1686" y="926"/>
                    <a:pt x="1686" y="926"/>
                    <a:pt x="1686" y="926"/>
                  </a:cubicBezTo>
                  <a:cubicBezTo>
                    <a:pt x="1686" y="932"/>
                    <a:pt x="1681" y="936"/>
                    <a:pt x="1676" y="936"/>
                  </a:cubicBezTo>
                  <a:cubicBezTo>
                    <a:pt x="10" y="936"/>
                    <a:pt x="10" y="936"/>
                    <a:pt x="10" y="936"/>
                  </a:cubicBezTo>
                  <a:cubicBezTo>
                    <a:pt x="5" y="936"/>
                    <a:pt x="0" y="932"/>
                    <a:pt x="0" y="926"/>
                  </a:cubicBezTo>
                  <a:cubicBezTo>
                    <a:pt x="0" y="10"/>
                    <a:pt x="0" y="10"/>
                    <a:pt x="0" y="10"/>
                  </a:cubicBezTo>
                  <a:cubicBezTo>
                    <a:pt x="0" y="4"/>
                    <a:pt x="5" y="0"/>
                    <a:pt x="10" y="0"/>
                  </a:cubicBezTo>
                  <a:cubicBezTo>
                    <a:pt x="1676" y="0"/>
                    <a:pt x="1676" y="0"/>
                    <a:pt x="1676" y="0"/>
                  </a:cubicBezTo>
                  <a:cubicBezTo>
                    <a:pt x="1681" y="0"/>
                    <a:pt x="1686" y="4"/>
                    <a:pt x="1686" y="10"/>
                  </a:cubicBezTo>
                  <a:close/>
                  <a:moveTo>
                    <a:pt x="555" y="238"/>
                  </a:moveTo>
                  <a:cubicBezTo>
                    <a:pt x="543" y="227"/>
                    <a:pt x="524" y="228"/>
                    <a:pt x="512" y="240"/>
                  </a:cubicBezTo>
                  <a:cubicBezTo>
                    <a:pt x="469" y="287"/>
                    <a:pt x="469" y="287"/>
                    <a:pt x="469" y="287"/>
                  </a:cubicBezTo>
                  <a:cubicBezTo>
                    <a:pt x="185" y="287"/>
                    <a:pt x="185" y="287"/>
                    <a:pt x="185" y="287"/>
                  </a:cubicBezTo>
                  <a:cubicBezTo>
                    <a:pt x="168" y="287"/>
                    <a:pt x="155" y="301"/>
                    <a:pt x="155" y="317"/>
                  </a:cubicBezTo>
                  <a:cubicBezTo>
                    <a:pt x="155" y="604"/>
                    <a:pt x="155" y="604"/>
                    <a:pt x="155" y="604"/>
                  </a:cubicBezTo>
                  <a:cubicBezTo>
                    <a:pt x="155" y="620"/>
                    <a:pt x="168" y="634"/>
                    <a:pt x="185" y="634"/>
                  </a:cubicBezTo>
                  <a:cubicBezTo>
                    <a:pt x="471" y="634"/>
                    <a:pt x="471" y="634"/>
                    <a:pt x="471" y="634"/>
                  </a:cubicBezTo>
                  <a:cubicBezTo>
                    <a:pt x="488" y="634"/>
                    <a:pt x="501" y="620"/>
                    <a:pt x="501" y="604"/>
                  </a:cubicBezTo>
                  <a:cubicBezTo>
                    <a:pt x="501" y="341"/>
                    <a:pt x="501" y="341"/>
                    <a:pt x="501" y="341"/>
                  </a:cubicBezTo>
                  <a:cubicBezTo>
                    <a:pt x="557" y="280"/>
                    <a:pt x="557" y="280"/>
                    <a:pt x="557" y="280"/>
                  </a:cubicBezTo>
                  <a:cubicBezTo>
                    <a:pt x="568" y="268"/>
                    <a:pt x="567" y="249"/>
                    <a:pt x="555" y="238"/>
                  </a:cubicBezTo>
                  <a:close/>
                  <a:moveTo>
                    <a:pt x="1531" y="562"/>
                  </a:moveTo>
                  <a:cubicBezTo>
                    <a:pt x="1531" y="545"/>
                    <a:pt x="1518" y="532"/>
                    <a:pt x="1501" y="532"/>
                  </a:cubicBezTo>
                  <a:cubicBezTo>
                    <a:pt x="691" y="532"/>
                    <a:pt x="691" y="532"/>
                    <a:pt x="691" y="532"/>
                  </a:cubicBezTo>
                  <a:cubicBezTo>
                    <a:pt x="674" y="532"/>
                    <a:pt x="661" y="545"/>
                    <a:pt x="661" y="562"/>
                  </a:cubicBezTo>
                  <a:cubicBezTo>
                    <a:pt x="661" y="579"/>
                    <a:pt x="674" y="592"/>
                    <a:pt x="691" y="592"/>
                  </a:cubicBezTo>
                  <a:cubicBezTo>
                    <a:pt x="1501" y="592"/>
                    <a:pt x="1501" y="592"/>
                    <a:pt x="1501" y="592"/>
                  </a:cubicBezTo>
                  <a:cubicBezTo>
                    <a:pt x="1518" y="592"/>
                    <a:pt x="1531" y="579"/>
                    <a:pt x="1531" y="562"/>
                  </a:cubicBezTo>
                  <a:close/>
                  <a:moveTo>
                    <a:pt x="1531" y="358"/>
                  </a:moveTo>
                  <a:cubicBezTo>
                    <a:pt x="1531" y="341"/>
                    <a:pt x="1518" y="328"/>
                    <a:pt x="1501" y="328"/>
                  </a:cubicBezTo>
                  <a:cubicBezTo>
                    <a:pt x="691" y="328"/>
                    <a:pt x="691" y="328"/>
                    <a:pt x="691" y="328"/>
                  </a:cubicBezTo>
                  <a:cubicBezTo>
                    <a:pt x="674" y="328"/>
                    <a:pt x="661" y="341"/>
                    <a:pt x="661" y="358"/>
                  </a:cubicBezTo>
                  <a:cubicBezTo>
                    <a:pt x="661" y="375"/>
                    <a:pt x="674" y="388"/>
                    <a:pt x="691" y="388"/>
                  </a:cubicBezTo>
                  <a:cubicBezTo>
                    <a:pt x="1501" y="388"/>
                    <a:pt x="1501" y="388"/>
                    <a:pt x="1501" y="388"/>
                  </a:cubicBezTo>
                  <a:cubicBezTo>
                    <a:pt x="1518" y="388"/>
                    <a:pt x="1531" y="375"/>
                    <a:pt x="1531" y="358"/>
                  </a:cubicBezTo>
                  <a:close/>
                </a:path>
              </a:pathLst>
            </a:custGeom>
            <a:solidFill>
              <a:srgbClr val="9A9A9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grpSp>
        <p:nvGrpSpPr>
          <p:cNvPr id="57" name="Group 56"/>
          <p:cNvGrpSpPr/>
          <p:nvPr/>
        </p:nvGrpSpPr>
        <p:grpSpPr>
          <a:xfrm>
            <a:off x="5784112" y="1413184"/>
            <a:ext cx="2771877" cy="1172772"/>
            <a:chOff x="4623961" y="2431571"/>
            <a:chExt cx="3695836" cy="1563214"/>
          </a:xfrm>
        </p:grpSpPr>
        <p:cxnSp>
          <p:nvCxnSpPr>
            <p:cNvPr id="58" name="Straight Connector 57"/>
            <p:cNvCxnSpPr/>
            <p:nvPr/>
          </p:nvCxnSpPr>
          <p:spPr>
            <a:xfrm>
              <a:off x="4623961" y="3747977"/>
              <a:ext cx="1606640" cy="0"/>
            </a:xfrm>
            <a:prstGeom prst="line">
              <a:avLst/>
            </a:prstGeom>
            <a:ln w="19050" cap="rnd" cmpd="sng" algn="ctr">
              <a:solidFill>
                <a:srgbClr val="9A9A9A"/>
              </a:solidFill>
              <a:prstDash val="solid"/>
              <a:round/>
              <a:headEnd type="oval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9" name="Rectangle 58"/>
            <p:cNvSpPr/>
            <p:nvPr/>
          </p:nvSpPr>
          <p:spPr>
            <a:xfrm>
              <a:off x="5615938" y="2431571"/>
              <a:ext cx="2703859" cy="1563214"/>
            </a:xfrm>
            <a:prstGeom prst="rect">
              <a:avLst/>
            </a:prstGeom>
            <a:solidFill>
              <a:schemeClr val="bg1"/>
            </a:solidFill>
            <a:ln w="19050" cap="rnd" cmpd="sng" algn="ctr">
              <a:solidFill>
                <a:srgbClr val="9A9A9A"/>
              </a:solidFill>
              <a:prstDash val="sysDot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0" rIns="91440" bIns="720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buSzPct val="100000"/>
                <a:buFont typeface="Trebuchet MS" panose="020B0603020202020204" pitchFamily="34" charset="0"/>
                <a:buChar char="​"/>
              </a:pPr>
              <a:r>
                <a:rPr lang="ru-RU" sz="800" dirty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>Список конкретных тем сформулирован на основании:</a:t>
              </a:r>
            </a:p>
            <a:p>
              <a:pPr marL="243000" lvl="1" indent="-162000">
                <a:buClr>
                  <a:schemeClr val="tx2">
                    <a:lumMod val="100000"/>
                  </a:scheme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ru-RU" sz="800" dirty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</a:rPr>
                <a:t> </a:t>
              </a:r>
              <a:r>
                <a:rPr lang="ru-RU" sz="800" dirty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  <a:cs typeface="Arial" pitchFamily="34" charset="0"/>
                </a:rPr>
                <a:t>ФЗ о </a:t>
              </a:r>
              <a:r>
                <a:rPr lang="en-US" sz="800" dirty="0" smtClean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  <a:cs typeface="Arial" pitchFamily="34" charset="0"/>
                </a:rPr>
                <a:t>c</a:t>
              </a:r>
              <a:r>
                <a:rPr lang="ru-RU" sz="800" dirty="0" smtClean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  <a:cs typeface="Arial" pitchFamily="34" charset="0"/>
                </a:rPr>
                <a:t>вязи</a:t>
              </a:r>
              <a:r>
                <a:rPr lang="ru-RU" sz="800" dirty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  <a:cs typeface="Arial" pitchFamily="34" charset="0"/>
                </a:rPr>
                <a:t>, ФЗ о </a:t>
              </a:r>
              <a:r>
                <a:rPr lang="ru-RU" sz="800" dirty="0" smtClean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  <a:cs typeface="Arial" pitchFamily="34" charset="0"/>
                </a:rPr>
                <a:t>персональных </a:t>
              </a:r>
              <a:r>
                <a:rPr lang="ru-RU" sz="800" dirty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  <a:cs typeface="Arial" pitchFamily="34" charset="0"/>
                </a:rPr>
                <a:t>данных, ФЗ о СМИ, ФЗ об </a:t>
              </a:r>
              <a:r>
                <a:rPr lang="ru-RU" sz="800" dirty="0" smtClean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  <a:cs typeface="Arial" pitchFamily="34" charset="0"/>
                </a:rPr>
                <a:t>информации</a:t>
              </a:r>
              <a:endParaRPr lang="ru-RU" sz="8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  <a:cs typeface="Arial" pitchFamily="34" charset="0"/>
              </a:endParaRPr>
            </a:p>
            <a:p>
              <a:pPr marL="243000" lvl="1" indent="-162000">
                <a:buClr>
                  <a:schemeClr val="tx2">
                    <a:lumMod val="100000"/>
                  </a:schemeClr>
                </a:buClr>
                <a:buSzPct val="100000"/>
                <a:buFont typeface="Trebuchet MS" panose="020B0603020202020204" pitchFamily="34" charset="0"/>
                <a:buChar char="•"/>
              </a:pPr>
              <a:r>
                <a:rPr lang="ru-RU" sz="800" dirty="0">
                  <a:solidFill>
                    <a:schemeClr val="tx1">
                      <a:lumMod val="100000"/>
                    </a:schemeClr>
                  </a:solidFill>
                  <a:latin typeface="Trebuchet MS" panose="020B0603020202020204" pitchFamily="34" charset="0"/>
                  <a:cs typeface="Arial" pitchFamily="34" charset="0"/>
                </a:rPr>
                <a:t>международных примеров регулирования (ЕС, Сингапур, Великобритания, США)</a:t>
              </a:r>
              <a:endParaRPr lang="ru-RU" sz="800" dirty="0">
                <a:solidFill>
                  <a:schemeClr val="tx1">
                    <a:lumMod val="100000"/>
                  </a:schemeClr>
                </a:solidFill>
                <a:latin typeface="Trebuchet MS" panose="020B0603020202020204" pitchFamily="34" charset="0"/>
              </a:endParaRPr>
            </a:p>
          </p:txBody>
        </p:sp>
      </p:grpSp>
      <p:sp>
        <p:nvSpPr>
          <p:cNvPr id="65" name="Rectangle 64"/>
          <p:cNvSpPr/>
          <p:nvPr/>
        </p:nvSpPr>
        <p:spPr>
          <a:xfrm>
            <a:off x="6302263" y="3189889"/>
            <a:ext cx="991856" cy="189567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900" dirty="0">
                <a:solidFill>
                  <a:srgbClr val="575757"/>
                </a:solidFill>
              </a:rPr>
              <a:t>Прочие технологии</a:t>
            </a:r>
          </a:p>
        </p:txBody>
      </p:sp>
      <p:sp>
        <p:nvSpPr>
          <p:cNvPr id="3" name="Rectangle 2"/>
          <p:cNvSpPr/>
          <p:nvPr/>
        </p:nvSpPr>
        <p:spPr>
          <a:xfrm>
            <a:off x="6643418" y="2766208"/>
            <a:ext cx="333981" cy="334084"/>
          </a:xfrm>
          <a:prstGeom prst="rect">
            <a:avLst/>
          </a:prstGeom>
          <a:noFill/>
          <a:ln w="9525" cap="rnd" cmpd="sng" algn="ctr">
            <a:solidFill>
              <a:srgbClr val="9A9A9A"/>
            </a:solidFill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2400" dirty="0">
                <a:solidFill>
                  <a:srgbClr val="575757"/>
                </a:solidFill>
              </a:rPr>
              <a:t>?</a:t>
            </a:r>
          </a:p>
        </p:txBody>
      </p:sp>
      <p:sp>
        <p:nvSpPr>
          <p:cNvPr id="60" name="Rectangle 59"/>
          <p:cNvSpPr/>
          <p:nvPr/>
        </p:nvSpPr>
        <p:spPr>
          <a:xfrm rot="16200000">
            <a:off x="2110178" y="2723845"/>
            <a:ext cx="1577525" cy="384363"/>
          </a:xfrm>
          <a:prstGeom prst="rect">
            <a:avLst/>
          </a:prstGeom>
          <a:noFill/>
          <a:ln w="9525" cap="rnd" cmpd="sng" algn="ctr">
            <a:solidFill>
              <a:srgbClr val="29BA74"/>
            </a:solidFill>
            <a:prstDash val="sysDash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r>
              <a:rPr lang="ru-RU" sz="900" dirty="0">
                <a:solidFill>
                  <a:srgbClr val="575757"/>
                </a:solidFill>
              </a:rPr>
              <a:t>Лицензирование</a:t>
            </a:r>
          </a:p>
        </p:txBody>
      </p:sp>
      <p:grpSp>
        <p:nvGrpSpPr>
          <p:cNvPr id="61" name="bcgIcons_Inventory">
            <a:extLst>
              <a:ext uri="{FF2B5EF4-FFF2-40B4-BE49-F238E27FC236}">
                <a16:creationId xmlns:a16="http://schemas.microsoft.com/office/drawing/2014/main" xmlns="" id="{DAB02D19-CEEB-4AD1-AE04-9E8CC1ED73D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683052" y="2155194"/>
            <a:ext cx="431777" cy="455589"/>
            <a:chOff x="1682" y="0"/>
            <a:chExt cx="4316" cy="4320"/>
          </a:xfrm>
        </p:grpSpPr>
        <p:sp>
          <p:nvSpPr>
            <p:cNvPr id="62" name="AutoShape 33">
              <a:extLst>
                <a:ext uri="{FF2B5EF4-FFF2-40B4-BE49-F238E27FC236}">
                  <a16:creationId xmlns:a16="http://schemas.microsoft.com/office/drawing/2014/main" xmlns="" id="{BD922637-C26B-4867-AEDD-A5CCE00B97D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3" name="Freeform 35">
              <a:extLst>
                <a:ext uri="{FF2B5EF4-FFF2-40B4-BE49-F238E27FC236}">
                  <a16:creationId xmlns:a16="http://schemas.microsoft.com/office/drawing/2014/main" xmlns="" id="{A34A23C4-990B-4C12-8C89-5A542654B9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66" y="307"/>
              <a:ext cx="1544" cy="2909"/>
            </a:xfrm>
            <a:custGeom>
              <a:avLst/>
              <a:gdLst>
                <a:gd name="T0" fmla="*/ 538 w 824"/>
                <a:gd name="T1" fmla="*/ 94 h 1551"/>
                <a:gd name="T2" fmla="*/ 286 w 824"/>
                <a:gd name="T3" fmla="*/ 94 h 1551"/>
                <a:gd name="T4" fmla="*/ 206 w 824"/>
                <a:gd name="T5" fmla="*/ 104 h 1551"/>
                <a:gd name="T6" fmla="*/ 228 w 824"/>
                <a:gd name="T7" fmla="*/ 275 h 1551"/>
                <a:gd name="T8" fmla="*/ 618 w 824"/>
                <a:gd name="T9" fmla="*/ 253 h 1551"/>
                <a:gd name="T10" fmla="*/ 608 w 824"/>
                <a:gd name="T11" fmla="*/ 94 h 1551"/>
                <a:gd name="T12" fmla="*/ 491 w 824"/>
                <a:gd name="T13" fmla="*/ 94 h 1551"/>
                <a:gd name="T14" fmla="*/ 412 w 824"/>
                <a:gd name="T15" fmla="*/ 44 h 1551"/>
                <a:gd name="T16" fmla="*/ 399 w 824"/>
                <a:gd name="T17" fmla="*/ 600 h 1551"/>
                <a:gd name="T18" fmla="*/ 399 w 824"/>
                <a:gd name="T19" fmla="*/ 556 h 1551"/>
                <a:gd name="T20" fmla="*/ 824 w 824"/>
                <a:gd name="T21" fmla="*/ 578 h 1551"/>
                <a:gd name="T22" fmla="*/ 802 w 824"/>
                <a:gd name="T23" fmla="*/ 742 h 1551"/>
                <a:gd name="T24" fmla="*/ 377 w 824"/>
                <a:gd name="T25" fmla="*/ 720 h 1551"/>
                <a:gd name="T26" fmla="*/ 802 w 824"/>
                <a:gd name="T27" fmla="*/ 698 h 1551"/>
                <a:gd name="T28" fmla="*/ 802 w 824"/>
                <a:gd name="T29" fmla="*/ 742 h 1551"/>
                <a:gd name="T30" fmla="*/ 399 w 824"/>
                <a:gd name="T31" fmla="*/ 1394 h 1551"/>
                <a:gd name="T32" fmla="*/ 399 w 824"/>
                <a:gd name="T33" fmla="*/ 1350 h 1551"/>
                <a:gd name="T34" fmla="*/ 824 w 824"/>
                <a:gd name="T35" fmla="*/ 1372 h 1551"/>
                <a:gd name="T36" fmla="*/ 802 w 824"/>
                <a:gd name="T37" fmla="*/ 1535 h 1551"/>
                <a:gd name="T38" fmla="*/ 377 w 824"/>
                <a:gd name="T39" fmla="*/ 1513 h 1551"/>
                <a:gd name="T40" fmla="*/ 802 w 824"/>
                <a:gd name="T41" fmla="*/ 1491 h 1551"/>
                <a:gd name="T42" fmla="*/ 802 w 824"/>
                <a:gd name="T43" fmla="*/ 1535 h 1551"/>
                <a:gd name="T44" fmla="*/ 399 w 824"/>
                <a:gd name="T45" fmla="*/ 997 h 1551"/>
                <a:gd name="T46" fmla="*/ 399 w 824"/>
                <a:gd name="T47" fmla="*/ 953 h 1551"/>
                <a:gd name="T48" fmla="*/ 824 w 824"/>
                <a:gd name="T49" fmla="*/ 975 h 1551"/>
                <a:gd name="T50" fmla="*/ 802 w 824"/>
                <a:gd name="T51" fmla="*/ 1139 h 1551"/>
                <a:gd name="T52" fmla="*/ 377 w 824"/>
                <a:gd name="T53" fmla="*/ 1117 h 1551"/>
                <a:gd name="T54" fmla="*/ 802 w 824"/>
                <a:gd name="T55" fmla="*/ 1095 h 1551"/>
                <a:gd name="T56" fmla="*/ 802 w 824"/>
                <a:gd name="T57" fmla="*/ 1139 h 1551"/>
                <a:gd name="T58" fmla="*/ 216 w 824"/>
                <a:gd name="T59" fmla="*/ 737 h 1551"/>
                <a:gd name="T60" fmla="*/ 22 w 824"/>
                <a:gd name="T61" fmla="*/ 759 h 1551"/>
                <a:gd name="T62" fmla="*/ 0 w 824"/>
                <a:gd name="T63" fmla="*/ 565 h 1551"/>
                <a:gd name="T64" fmla="*/ 152 w 824"/>
                <a:gd name="T65" fmla="*/ 543 h 1551"/>
                <a:gd name="T66" fmla="*/ 44 w 824"/>
                <a:gd name="T67" fmla="*/ 587 h 1551"/>
                <a:gd name="T68" fmla="*/ 172 w 824"/>
                <a:gd name="T69" fmla="*/ 715 h 1551"/>
                <a:gd name="T70" fmla="*/ 216 w 824"/>
                <a:gd name="T71" fmla="*/ 665 h 1551"/>
                <a:gd name="T72" fmla="*/ 216 w 824"/>
                <a:gd name="T73" fmla="*/ 1136 h 1551"/>
                <a:gd name="T74" fmla="*/ 22 w 824"/>
                <a:gd name="T75" fmla="*/ 1158 h 1551"/>
                <a:gd name="T76" fmla="*/ 0 w 824"/>
                <a:gd name="T77" fmla="*/ 964 h 1551"/>
                <a:gd name="T78" fmla="*/ 152 w 824"/>
                <a:gd name="T79" fmla="*/ 942 h 1551"/>
                <a:gd name="T80" fmla="*/ 44 w 824"/>
                <a:gd name="T81" fmla="*/ 986 h 1551"/>
                <a:gd name="T82" fmla="*/ 172 w 824"/>
                <a:gd name="T83" fmla="*/ 1114 h 1551"/>
                <a:gd name="T84" fmla="*/ 216 w 824"/>
                <a:gd name="T85" fmla="*/ 1064 h 1551"/>
                <a:gd name="T86" fmla="*/ 216 w 824"/>
                <a:gd name="T87" fmla="*/ 1529 h 1551"/>
                <a:gd name="T88" fmla="*/ 22 w 824"/>
                <a:gd name="T89" fmla="*/ 1551 h 1551"/>
                <a:gd name="T90" fmla="*/ 0 w 824"/>
                <a:gd name="T91" fmla="*/ 1357 h 1551"/>
                <a:gd name="T92" fmla="*/ 152 w 824"/>
                <a:gd name="T93" fmla="*/ 1335 h 1551"/>
                <a:gd name="T94" fmla="*/ 44 w 824"/>
                <a:gd name="T95" fmla="*/ 1379 h 1551"/>
                <a:gd name="T96" fmla="*/ 172 w 824"/>
                <a:gd name="T97" fmla="*/ 1507 h 1551"/>
                <a:gd name="T98" fmla="*/ 216 w 824"/>
                <a:gd name="T99" fmla="*/ 1457 h 1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24" h="1551">
                  <a:moveTo>
                    <a:pt x="608" y="94"/>
                  </a:moveTo>
                  <a:cubicBezTo>
                    <a:pt x="538" y="94"/>
                    <a:pt x="538" y="94"/>
                    <a:pt x="538" y="94"/>
                  </a:cubicBezTo>
                  <a:cubicBezTo>
                    <a:pt x="522" y="39"/>
                    <a:pt x="471" y="0"/>
                    <a:pt x="412" y="0"/>
                  </a:cubicBezTo>
                  <a:cubicBezTo>
                    <a:pt x="353" y="0"/>
                    <a:pt x="302" y="39"/>
                    <a:pt x="286" y="94"/>
                  </a:cubicBezTo>
                  <a:cubicBezTo>
                    <a:pt x="216" y="94"/>
                    <a:pt x="216" y="94"/>
                    <a:pt x="216" y="94"/>
                  </a:cubicBezTo>
                  <a:cubicBezTo>
                    <a:pt x="210" y="94"/>
                    <a:pt x="206" y="98"/>
                    <a:pt x="206" y="104"/>
                  </a:cubicBezTo>
                  <a:cubicBezTo>
                    <a:pt x="206" y="253"/>
                    <a:pt x="206" y="253"/>
                    <a:pt x="206" y="253"/>
                  </a:cubicBezTo>
                  <a:cubicBezTo>
                    <a:pt x="206" y="265"/>
                    <a:pt x="216" y="275"/>
                    <a:pt x="228" y="275"/>
                  </a:cubicBezTo>
                  <a:cubicBezTo>
                    <a:pt x="596" y="275"/>
                    <a:pt x="596" y="275"/>
                    <a:pt x="596" y="275"/>
                  </a:cubicBezTo>
                  <a:cubicBezTo>
                    <a:pt x="608" y="275"/>
                    <a:pt x="618" y="265"/>
                    <a:pt x="618" y="253"/>
                  </a:cubicBezTo>
                  <a:cubicBezTo>
                    <a:pt x="618" y="104"/>
                    <a:pt x="618" y="104"/>
                    <a:pt x="618" y="104"/>
                  </a:cubicBezTo>
                  <a:cubicBezTo>
                    <a:pt x="618" y="98"/>
                    <a:pt x="614" y="94"/>
                    <a:pt x="608" y="94"/>
                  </a:cubicBezTo>
                  <a:close/>
                  <a:moveTo>
                    <a:pt x="412" y="44"/>
                  </a:moveTo>
                  <a:cubicBezTo>
                    <a:pt x="447" y="44"/>
                    <a:pt x="477" y="64"/>
                    <a:pt x="491" y="94"/>
                  </a:cubicBezTo>
                  <a:cubicBezTo>
                    <a:pt x="333" y="94"/>
                    <a:pt x="333" y="94"/>
                    <a:pt x="333" y="94"/>
                  </a:cubicBezTo>
                  <a:cubicBezTo>
                    <a:pt x="347" y="64"/>
                    <a:pt x="377" y="44"/>
                    <a:pt x="412" y="44"/>
                  </a:cubicBezTo>
                  <a:close/>
                  <a:moveTo>
                    <a:pt x="802" y="600"/>
                  </a:moveTo>
                  <a:cubicBezTo>
                    <a:pt x="399" y="600"/>
                    <a:pt x="399" y="600"/>
                    <a:pt x="399" y="600"/>
                  </a:cubicBezTo>
                  <a:cubicBezTo>
                    <a:pt x="387" y="600"/>
                    <a:pt x="377" y="590"/>
                    <a:pt x="377" y="578"/>
                  </a:cubicBezTo>
                  <a:cubicBezTo>
                    <a:pt x="377" y="566"/>
                    <a:pt x="387" y="556"/>
                    <a:pt x="399" y="556"/>
                  </a:cubicBezTo>
                  <a:cubicBezTo>
                    <a:pt x="802" y="556"/>
                    <a:pt x="802" y="556"/>
                    <a:pt x="802" y="556"/>
                  </a:cubicBezTo>
                  <a:cubicBezTo>
                    <a:pt x="814" y="556"/>
                    <a:pt x="824" y="566"/>
                    <a:pt x="824" y="578"/>
                  </a:cubicBezTo>
                  <a:cubicBezTo>
                    <a:pt x="824" y="590"/>
                    <a:pt x="814" y="600"/>
                    <a:pt x="802" y="600"/>
                  </a:cubicBezTo>
                  <a:close/>
                  <a:moveTo>
                    <a:pt x="802" y="742"/>
                  </a:moveTo>
                  <a:cubicBezTo>
                    <a:pt x="399" y="742"/>
                    <a:pt x="399" y="742"/>
                    <a:pt x="399" y="742"/>
                  </a:cubicBezTo>
                  <a:cubicBezTo>
                    <a:pt x="387" y="742"/>
                    <a:pt x="377" y="732"/>
                    <a:pt x="377" y="720"/>
                  </a:cubicBezTo>
                  <a:cubicBezTo>
                    <a:pt x="377" y="708"/>
                    <a:pt x="387" y="698"/>
                    <a:pt x="399" y="698"/>
                  </a:cubicBezTo>
                  <a:cubicBezTo>
                    <a:pt x="802" y="698"/>
                    <a:pt x="802" y="698"/>
                    <a:pt x="802" y="698"/>
                  </a:cubicBezTo>
                  <a:cubicBezTo>
                    <a:pt x="814" y="698"/>
                    <a:pt x="824" y="708"/>
                    <a:pt x="824" y="720"/>
                  </a:cubicBezTo>
                  <a:cubicBezTo>
                    <a:pt x="824" y="732"/>
                    <a:pt x="814" y="742"/>
                    <a:pt x="802" y="742"/>
                  </a:cubicBezTo>
                  <a:close/>
                  <a:moveTo>
                    <a:pt x="802" y="1394"/>
                  </a:moveTo>
                  <a:cubicBezTo>
                    <a:pt x="399" y="1394"/>
                    <a:pt x="399" y="1394"/>
                    <a:pt x="399" y="1394"/>
                  </a:cubicBezTo>
                  <a:cubicBezTo>
                    <a:pt x="387" y="1394"/>
                    <a:pt x="377" y="1384"/>
                    <a:pt x="377" y="1372"/>
                  </a:cubicBezTo>
                  <a:cubicBezTo>
                    <a:pt x="377" y="1359"/>
                    <a:pt x="387" y="1350"/>
                    <a:pt x="399" y="1350"/>
                  </a:cubicBezTo>
                  <a:cubicBezTo>
                    <a:pt x="802" y="1350"/>
                    <a:pt x="802" y="1350"/>
                    <a:pt x="802" y="1350"/>
                  </a:cubicBezTo>
                  <a:cubicBezTo>
                    <a:pt x="814" y="1350"/>
                    <a:pt x="824" y="1359"/>
                    <a:pt x="824" y="1372"/>
                  </a:cubicBezTo>
                  <a:cubicBezTo>
                    <a:pt x="824" y="1384"/>
                    <a:pt x="814" y="1394"/>
                    <a:pt x="802" y="1394"/>
                  </a:cubicBezTo>
                  <a:close/>
                  <a:moveTo>
                    <a:pt x="802" y="1535"/>
                  </a:moveTo>
                  <a:cubicBezTo>
                    <a:pt x="399" y="1535"/>
                    <a:pt x="399" y="1535"/>
                    <a:pt x="399" y="1535"/>
                  </a:cubicBezTo>
                  <a:cubicBezTo>
                    <a:pt x="387" y="1535"/>
                    <a:pt x="377" y="1525"/>
                    <a:pt x="377" y="1513"/>
                  </a:cubicBezTo>
                  <a:cubicBezTo>
                    <a:pt x="377" y="1501"/>
                    <a:pt x="387" y="1491"/>
                    <a:pt x="399" y="1491"/>
                  </a:cubicBezTo>
                  <a:cubicBezTo>
                    <a:pt x="802" y="1491"/>
                    <a:pt x="802" y="1491"/>
                    <a:pt x="802" y="1491"/>
                  </a:cubicBezTo>
                  <a:cubicBezTo>
                    <a:pt x="814" y="1491"/>
                    <a:pt x="824" y="1501"/>
                    <a:pt x="824" y="1513"/>
                  </a:cubicBezTo>
                  <a:cubicBezTo>
                    <a:pt x="824" y="1525"/>
                    <a:pt x="814" y="1535"/>
                    <a:pt x="802" y="1535"/>
                  </a:cubicBezTo>
                  <a:close/>
                  <a:moveTo>
                    <a:pt x="802" y="997"/>
                  </a:moveTo>
                  <a:cubicBezTo>
                    <a:pt x="399" y="997"/>
                    <a:pt x="399" y="997"/>
                    <a:pt x="399" y="997"/>
                  </a:cubicBezTo>
                  <a:cubicBezTo>
                    <a:pt x="387" y="997"/>
                    <a:pt x="377" y="987"/>
                    <a:pt x="377" y="975"/>
                  </a:cubicBezTo>
                  <a:cubicBezTo>
                    <a:pt x="377" y="963"/>
                    <a:pt x="387" y="953"/>
                    <a:pt x="399" y="953"/>
                  </a:cubicBezTo>
                  <a:cubicBezTo>
                    <a:pt x="802" y="953"/>
                    <a:pt x="802" y="953"/>
                    <a:pt x="802" y="953"/>
                  </a:cubicBezTo>
                  <a:cubicBezTo>
                    <a:pt x="814" y="953"/>
                    <a:pt x="824" y="963"/>
                    <a:pt x="824" y="975"/>
                  </a:cubicBezTo>
                  <a:cubicBezTo>
                    <a:pt x="824" y="987"/>
                    <a:pt x="814" y="997"/>
                    <a:pt x="802" y="997"/>
                  </a:cubicBezTo>
                  <a:close/>
                  <a:moveTo>
                    <a:pt x="802" y="1139"/>
                  </a:moveTo>
                  <a:cubicBezTo>
                    <a:pt x="399" y="1139"/>
                    <a:pt x="399" y="1139"/>
                    <a:pt x="399" y="1139"/>
                  </a:cubicBezTo>
                  <a:cubicBezTo>
                    <a:pt x="387" y="1139"/>
                    <a:pt x="377" y="1129"/>
                    <a:pt x="377" y="1117"/>
                  </a:cubicBezTo>
                  <a:cubicBezTo>
                    <a:pt x="377" y="1104"/>
                    <a:pt x="387" y="1095"/>
                    <a:pt x="399" y="1095"/>
                  </a:cubicBezTo>
                  <a:cubicBezTo>
                    <a:pt x="802" y="1095"/>
                    <a:pt x="802" y="1095"/>
                    <a:pt x="802" y="1095"/>
                  </a:cubicBezTo>
                  <a:cubicBezTo>
                    <a:pt x="814" y="1095"/>
                    <a:pt x="824" y="1104"/>
                    <a:pt x="824" y="1117"/>
                  </a:cubicBezTo>
                  <a:cubicBezTo>
                    <a:pt x="824" y="1129"/>
                    <a:pt x="814" y="1139"/>
                    <a:pt x="802" y="1139"/>
                  </a:cubicBezTo>
                  <a:close/>
                  <a:moveTo>
                    <a:pt x="216" y="665"/>
                  </a:moveTo>
                  <a:cubicBezTo>
                    <a:pt x="216" y="737"/>
                    <a:pt x="216" y="737"/>
                    <a:pt x="216" y="737"/>
                  </a:cubicBezTo>
                  <a:cubicBezTo>
                    <a:pt x="216" y="749"/>
                    <a:pt x="206" y="759"/>
                    <a:pt x="194" y="759"/>
                  </a:cubicBezTo>
                  <a:cubicBezTo>
                    <a:pt x="22" y="759"/>
                    <a:pt x="22" y="759"/>
                    <a:pt x="22" y="759"/>
                  </a:cubicBezTo>
                  <a:cubicBezTo>
                    <a:pt x="10" y="759"/>
                    <a:pt x="0" y="749"/>
                    <a:pt x="0" y="737"/>
                  </a:cubicBezTo>
                  <a:cubicBezTo>
                    <a:pt x="0" y="565"/>
                    <a:pt x="0" y="565"/>
                    <a:pt x="0" y="565"/>
                  </a:cubicBezTo>
                  <a:cubicBezTo>
                    <a:pt x="0" y="553"/>
                    <a:pt x="10" y="543"/>
                    <a:pt x="22" y="543"/>
                  </a:cubicBezTo>
                  <a:cubicBezTo>
                    <a:pt x="152" y="543"/>
                    <a:pt x="152" y="543"/>
                    <a:pt x="152" y="543"/>
                  </a:cubicBezTo>
                  <a:cubicBezTo>
                    <a:pt x="108" y="587"/>
                    <a:pt x="108" y="587"/>
                    <a:pt x="108" y="587"/>
                  </a:cubicBezTo>
                  <a:cubicBezTo>
                    <a:pt x="44" y="587"/>
                    <a:pt x="44" y="587"/>
                    <a:pt x="44" y="587"/>
                  </a:cubicBezTo>
                  <a:cubicBezTo>
                    <a:pt x="44" y="715"/>
                    <a:pt x="44" y="715"/>
                    <a:pt x="44" y="715"/>
                  </a:cubicBezTo>
                  <a:cubicBezTo>
                    <a:pt x="172" y="715"/>
                    <a:pt x="172" y="715"/>
                    <a:pt x="172" y="715"/>
                  </a:cubicBezTo>
                  <a:cubicBezTo>
                    <a:pt x="172" y="709"/>
                    <a:pt x="172" y="709"/>
                    <a:pt x="172" y="709"/>
                  </a:cubicBezTo>
                  <a:lnTo>
                    <a:pt x="216" y="665"/>
                  </a:lnTo>
                  <a:close/>
                  <a:moveTo>
                    <a:pt x="216" y="1064"/>
                  </a:moveTo>
                  <a:cubicBezTo>
                    <a:pt x="216" y="1136"/>
                    <a:pt x="216" y="1136"/>
                    <a:pt x="216" y="1136"/>
                  </a:cubicBezTo>
                  <a:cubicBezTo>
                    <a:pt x="216" y="1148"/>
                    <a:pt x="206" y="1158"/>
                    <a:pt x="194" y="1158"/>
                  </a:cubicBezTo>
                  <a:cubicBezTo>
                    <a:pt x="22" y="1158"/>
                    <a:pt x="22" y="1158"/>
                    <a:pt x="22" y="1158"/>
                  </a:cubicBezTo>
                  <a:cubicBezTo>
                    <a:pt x="10" y="1158"/>
                    <a:pt x="0" y="1148"/>
                    <a:pt x="0" y="1136"/>
                  </a:cubicBezTo>
                  <a:cubicBezTo>
                    <a:pt x="0" y="964"/>
                    <a:pt x="0" y="964"/>
                    <a:pt x="0" y="964"/>
                  </a:cubicBezTo>
                  <a:cubicBezTo>
                    <a:pt x="0" y="952"/>
                    <a:pt x="10" y="942"/>
                    <a:pt x="22" y="942"/>
                  </a:cubicBezTo>
                  <a:cubicBezTo>
                    <a:pt x="152" y="942"/>
                    <a:pt x="152" y="942"/>
                    <a:pt x="152" y="942"/>
                  </a:cubicBezTo>
                  <a:cubicBezTo>
                    <a:pt x="108" y="986"/>
                    <a:pt x="108" y="986"/>
                    <a:pt x="108" y="986"/>
                  </a:cubicBezTo>
                  <a:cubicBezTo>
                    <a:pt x="44" y="986"/>
                    <a:pt x="44" y="986"/>
                    <a:pt x="44" y="986"/>
                  </a:cubicBezTo>
                  <a:cubicBezTo>
                    <a:pt x="44" y="1114"/>
                    <a:pt x="44" y="1114"/>
                    <a:pt x="44" y="1114"/>
                  </a:cubicBezTo>
                  <a:cubicBezTo>
                    <a:pt x="172" y="1114"/>
                    <a:pt x="172" y="1114"/>
                    <a:pt x="172" y="1114"/>
                  </a:cubicBezTo>
                  <a:cubicBezTo>
                    <a:pt x="172" y="1108"/>
                    <a:pt x="172" y="1108"/>
                    <a:pt x="172" y="1108"/>
                  </a:cubicBezTo>
                  <a:lnTo>
                    <a:pt x="216" y="1064"/>
                  </a:lnTo>
                  <a:close/>
                  <a:moveTo>
                    <a:pt x="216" y="1457"/>
                  </a:moveTo>
                  <a:cubicBezTo>
                    <a:pt x="216" y="1529"/>
                    <a:pt x="216" y="1529"/>
                    <a:pt x="216" y="1529"/>
                  </a:cubicBezTo>
                  <a:cubicBezTo>
                    <a:pt x="216" y="1541"/>
                    <a:pt x="206" y="1551"/>
                    <a:pt x="194" y="1551"/>
                  </a:cubicBezTo>
                  <a:cubicBezTo>
                    <a:pt x="22" y="1551"/>
                    <a:pt x="22" y="1551"/>
                    <a:pt x="22" y="1551"/>
                  </a:cubicBezTo>
                  <a:cubicBezTo>
                    <a:pt x="10" y="1551"/>
                    <a:pt x="0" y="1541"/>
                    <a:pt x="0" y="1529"/>
                  </a:cubicBezTo>
                  <a:cubicBezTo>
                    <a:pt x="0" y="1357"/>
                    <a:pt x="0" y="1357"/>
                    <a:pt x="0" y="1357"/>
                  </a:cubicBezTo>
                  <a:cubicBezTo>
                    <a:pt x="0" y="1345"/>
                    <a:pt x="10" y="1335"/>
                    <a:pt x="22" y="1335"/>
                  </a:cubicBezTo>
                  <a:cubicBezTo>
                    <a:pt x="152" y="1335"/>
                    <a:pt x="152" y="1335"/>
                    <a:pt x="152" y="1335"/>
                  </a:cubicBezTo>
                  <a:cubicBezTo>
                    <a:pt x="108" y="1379"/>
                    <a:pt x="108" y="1379"/>
                    <a:pt x="108" y="1379"/>
                  </a:cubicBezTo>
                  <a:cubicBezTo>
                    <a:pt x="44" y="1379"/>
                    <a:pt x="44" y="1379"/>
                    <a:pt x="44" y="1379"/>
                  </a:cubicBezTo>
                  <a:cubicBezTo>
                    <a:pt x="44" y="1507"/>
                    <a:pt x="44" y="1507"/>
                    <a:pt x="44" y="1507"/>
                  </a:cubicBezTo>
                  <a:cubicBezTo>
                    <a:pt x="172" y="1507"/>
                    <a:pt x="172" y="1507"/>
                    <a:pt x="172" y="1507"/>
                  </a:cubicBezTo>
                  <a:cubicBezTo>
                    <a:pt x="172" y="1501"/>
                    <a:pt x="172" y="1501"/>
                    <a:pt x="172" y="1501"/>
                  </a:cubicBezTo>
                  <a:lnTo>
                    <a:pt x="216" y="1457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64" name="Freeform 36">
              <a:extLst>
                <a:ext uri="{FF2B5EF4-FFF2-40B4-BE49-F238E27FC236}">
                  <a16:creationId xmlns:a16="http://schemas.microsoft.com/office/drawing/2014/main" xmlns="" id="{934071E2-D182-4FC3-A3CA-AB2AE7DEBC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45" y="611"/>
              <a:ext cx="2386" cy="3169"/>
            </a:xfrm>
            <a:custGeom>
              <a:avLst/>
              <a:gdLst>
                <a:gd name="T0" fmla="*/ 1274 w 1274"/>
                <a:gd name="T1" fmla="*/ 22 h 1690"/>
                <a:gd name="T2" fmla="*/ 1274 w 1274"/>
                <a:gd name="T3" fmla="*/ 1668 h 1690"/>
                <a:gd name="T4" fmla="*/ 1252 w 1274"/>
                <a:gd name="T5" fmla="*/ 1690 h 1690"/>
                <a:gd name="T6" fmla="*/ 22 w 1274"/>
                <a:gd name="T7" fmla="*/ 1690 h 1690"/>
                <a:gd name="T8" fmla="*/ 0 w 1274"/>
                <a:gd name="T9" fmla="*/ 1668 h 1690"/>
                <a:gd name="T10" fmla="*/ 0 w 1274"/>
                <a:gd name="T11" fmla="*/ 22 h 1690"/>
                <a:gd name="T12" fmla="*/ 22 w 1274"/>
                <a:gd name="T13" fmla="*/ 0 h 1690"/>
                <a:gd name="T14" fmla="*/ 387 w 1274"/>
                <a:gd name="T15" fmla="*/ 0 h 1690"/>
                <a:gd name="T16" fmla="*/ 387 w 1274"/>
                <a:gd name="T17" fmla="*/ 44 h 1690"/>
                <a:gd name="T18" fmla="*/ 44 w 1274"/>
                <a:gd name="T19" fmla="*/ 44 h 1690"/>
                <a:gd name="T20" fmla="*/ 44 w 1274"/>
                <a:gd name="T21" fmla="*/ 1646 h 1690"/>
                <a:gd name="T22" fmla="*/ 1230 w 1274"/>
                <a:gd name="T23" fmla="*/ 1646 h 1690"/>
                <a:gd name="T24" fmla="*/ 1230 w 1274"/>
                <a:gd name="T25" fmla="*/ 44 h 1690"/>
                <a:gd name="T26" fmla="*/ 887 w 1274"/>
                <a:gd name="T27" fmla="*/ 44 h 1690"/>
                <a:gd name="T28" fmla="*/ 887 w 1274"/>
                <a:gd name="T29" fmla="*/ 0 h 1690"/>
                <a:gd name="T30" fmla="*/ 1252 w 1274"/>
                <a:gd name="T31" fmla="*/ 0 h 1690"/>
                <a:gd name="T32" fmla="*/ 1274 w 1274"/>
                <a:gd name="T33" fmla="*/ 22 h 1690"/>
                <a:gd name="T34" fmla="*/ 362 w 1274"/>
                <a:gd name="T35" fmla="*/ 520 h 1690"/>
                <a:gd name="T36" fmla="*/ 484 w 1274"/>
                <a:gd name="T37" fmla="*/ 397 h 1690"/>
                <a:gd name="T38" fmla="*/ 484 w 1274"/>
                <a:gd name="T39" fmla="*/ 366 h 1690"/>
                <a:gd name="T40" fmla="*/ 453 w 1274"/>
                <a:gd name="T41" fmla="*/ 366 h 1690"/>
                <a:gd name="T42" fmla="*/ 347 w 1274"/>
                <a:gd name="T43" fmla="*/ 473 h 1690"/>
                <a:gd name="T44" fmla="*/ 323 w 1274"/>
                <a:gd name="T45" fmla="*/ 450 h 1690"/>
                <a:gd name="T46" fmla="*/ 292 w 1274"/>
                <a:gd name="T47" fmla="*/ 450 h 1690"/>
                <a:gd name="T48" fmla="*/ 292 w 1274"/>
                <a:gd name="T49" fmla="*/ 481 h 1690"/>
                <a:gd name="T50" fmla="*/ 331 w 1274"/>
                <a:gd name="T51" fmla="*/ 520 h 1690"/>
                <a:gd name="T52" fmla="*/ 347 w 1274"/>
                <a:gd name="T53" fmla="*/ 526 h 1690"/>
                <a:gd name="T54" fmla="*/ 362 w 1274"/>
                <a:gd name="T55" fmla="*/ 520 h 1690"/>
                <a:gd name="T56" fmla="*/ 362 w 1274"/>
                <a:gd name="T57" fmla="*/ 919 h 1690"/>
                <a:gd name="T58" fmla="*/ 484 w 1274"/>
                <a:gd name="T59" fmla="*/ 796 h 1690"/>
                <a:gd name="T60" fmla="*/ 484 w 1274"/>
                <a:gd name="T61" fmla="*/ 765 h 1690"/>
                <a:gd name="T62" fmla="*/ 453 w 1274"/>
                <a:gd name="T63" fmla="*/ 765 h 1690"/>
                <a:gd name="T64" fmla="*/ 347 w 1274"/>
                <a:gd name="T65" fmla="*/ 872 h 1690"/>
                <a:gd name="T66" fmla="*/ 323 w 1274"/>
                <a:gd name="T67" fmla="*/ 849 h 1690"/>
                <a:gd name="T68" fmla="*/ 292 w 1274"/>
                <a:gd name="T69" fmla="*/ 849 h 1690"/>
                <a:gd name="T70" fmla="*/ 292 w 1274"/>
                <a:gd name="T71" fmla="*/ 880 h 1690"/>
                <a:gd name="T72" fmla="*/ 331 w 1274"/>
                <a:gd name="T73" fmla="*/ 919 h 1690"/>
                <a:gd name="T74" fmla="*/ 347 w 1274"/>
                <a:gd name="T75" fmla="*/ 925 h 1690"/>
                <a:gd name="T76" fmla="*/ 362 w 1274"/>
                <a:gd name="T77" fmla="*/ 919 h 1690"/>
                <a:gd name="T78" fmla="*/ 362 w 1274"/>
                <a:gd name="T79" fmla="*/ 1311 h 1690"/>
                <a:gd name="T80" fmla="*/ 484 w 1274"/>
                <a:gd name="T81" fmla="*/ 1189 h 1690"/>
                <a:gd name="T82" fmla="*/ 484 w 1274"/>
                <a:gd name="T83" fmla="*/ 1158 h 1690"/>
                <a:gd name="T84" fmla="*/ 453 w 1274"/>
                <a:gd name="T85" fmla="*/ 1158 h 1690"/>
                <a:gd name="T86" fmla="*/ 347 w 1274"/>
                <a:gd name="T87" fmla="*/ 1265 h 1690"/>
                <a:gd name="T88" fmla="*/ 323 w 1274"/>
                <a:gd name="T89" fmla="*/ 1242 h 1690"/>
                <a:gd name="T90" fmla="*/ 292 w 1274"/>
                <a:gd name="T91" fmla="*/ 1242 h 1690"/>
                <a:gd name="T92" fmla="*/ 292 w 1274"/>
                <a:gd name="T93" fmla="*/ 1273 h 1690"/>
                <a:gd name="T94" fmla="*/ 331 w 1274"/>
                <a:gd name="T95" fmla="*/ 1311 h 1690"/>
                <a:gd name="T96" fmla="*/ 347 w 1274"/>
                <a:gd name="T97" fmla="*/ 1318 h 1690"/>
                <a:gd name="T98" fmla="*/ 362 w 1274"/>
                <a:gd name="T99" fmla="*/ 1311 h 1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74" h="1690">
                  <a:moveTo>
                    <a:pt x="1274" y="22"/>
                  </a:moveTo>
                  <a:cubicBezTo>
                    <a:pt x="1274" y="1668"/>
                    <a:pt x="1274" y="1668"/>
                    <a:pt x="1274" y="1668"/>
                  </a:cubicBezTo>
                  <a:cubicBezTo>
                    <a:pt x="1274" y="1680"/>
                    <a:pt x="1264" y="1690"/>
                    <a:pt x="1252" y="1690"/>
                  </a:cubicBezTo>
                  <a:cubicBezTo>
                    <a:pt x="22" y="1690"/>
                    <a:pt x="22" y="1690"/>
                    <a:pt x="22" y="1690"/>
                  </a:cubicBezTo>
                  <a:cubicBezTo>
                    <a:pt x="10" y="1690"/>
                    <a:pt x="0" y="1680"/>
                    <a:pt x="0" y="1668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387" y="0"/>
                    <a:pt x="387" y="0"/>
                    <a:pt x="387" y="0"/>
                  </a:cubicBezTo>
                  <a:cubicBezTo>
                    <a:pt x="387" y="44"/>
                    <a:pt x="387" y="44"/>
                    <a:pt x="387" y="44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44" y="1646"/>
                    <a:pt x="44" y="1646"/>
                    <a:pt x="44" y="1646"/>
                  </a:cubicBezTo>
                  <a:cubicBezTo>
                    <a:pt x="1230" y="1646"/>
                    <a:pt x="1230" y="1646"/>
                    <a:pt x="1230" y="1646"/>
                  </a:cubicBezTo>
                  <a:cubicBezTo>
                    <a:pt x="1230" y="44"/>
                    <a:pt x="1230" y="44"/>
                    <a:pt x="1230" y="44"/>
                  </a:cubicBezTo>
                  <a:cubicBezTo>
                    <a:pt x="887" y="44"/>
                    <a:pt x="887" y="44"/>
                    <a:pt x="887" y="44"/>
                  </a:cubicBezTo>
                  <a:cubicBezTo>
                    <a:pt x="887" y="0"/>
                    <a:pt x="887" y="0"/>
                    <a:pt x="887" y="0"/>
                  </a:cubicBezTo>
                  <a:cubicBezTo>
                    <a:pt x="1252" y="0"/>
                    <a:pt x="1252" y="0"/>
                    <a:pt x="1252" y="0"/>
                  </a:cubicBezTo>
                  <a:cubicBezTo>
                    <a:pt x="1264" y="0"/>
                    <a:pt x="1274" y="10"/>
                    <a:pt x="1274" y="22"/>
                  </a:cubicBezTo>
                  <a:close/>
                  <a:moveTo>
                    <a:pt x="362" y="520"/>
                  </a:moveTo>
                  <a:cubicBezTo>
                    <a:pt x="484" y="397"/>
                    <a:pt x="484" y="397"/>
                    <a:pt x="484" y="397"/>
                  </a:cubicBezTo>
                  <a:cubicBezTo>
                    <a:pt x="493" y="389"/>
                    <a:pt x="493" y="375"/>
                    <a:pt x="484" y="366"/>
                  </a:cubicBezTo>
                  <a:cubicBezTo>
                    <a:pt x="476" y="358"/>
                    <a:pt x="462" y="358"/>
                    <a:pt x="453" y="366"/>
                  </a:cubicBezTo>
                  <a:cubicBezTo>
                    <a:pt x="347" y="473"/>
                    <a:pt x="347" y="473"/>
                    <a:pt x="347" y="473"/>
                  </a:cubicBezTo>
                  <a:cubicBezTo>
                    <a:pt x="323" y="450"/>
                    <a:pt x="323" y="450"/>
                    <a:pt x="323" y="450"/>
                  </a:cubicBezTo>
                  <a:cubicBezTo>
                    <a:pt x="315" y="441"/>
                    <a:pt x="301" y="441"/>
                    <a:pt x="292" y="450"/>
                  </a:cubicBezTo>
                  <a:cubicBezTo>
                    <a:pt x="284" y="458"/>
                    <a:pt x="284" y="472"/>
                    <a:pt x="292" y="481"/>
                  </a:cubicBezTo>
                  <a:cubicBezTo>
                    <a:pt x="331" y="520"/>
                    <a:pt x="331" y="520"/>
                    <a:pt x="331" y="520"/>
                  </a:cubicBezTo>
                  <a:cubicBezTo>
                    <a:pt x="335" y="524"/>
                    <a:pt x="341" y="526"/>
                    <a:pt x="347" y="526"/>
                  </a:cubicBezTo>
                  <a:cubicBezTo>
                    <a:pt x="352" y="526"/>
                    <a:pt x="358" y="524"/>
                    <a:pt x="362" y="520"/>
                  </a:cubicBezTo>
                  <a:close/>
                  <a:moveTo>
                    <a:pt x="362" y="919"/>
                  </a:moveTo>
                  <a:cubicBezTo>
                    <a:pt x="484" y="796"/>
                    <a:pt x="484" y="796"/>
                    <a:pt x="484" y="796"/>
                  </a:cubicBezTo>
                  <a:cubicBezTo>
                    <a:pt x="493" y="788"/>
                    <a:pt x="493" y="774"/>
                    <a:pt x="484" y="765"/>
                  </a:cubicBezTo>
                  <a:cubicBezTo>
                    <a:pt x="476" y="757"/>
                    <a:pt x="462" y="757"/>
                    <a:pt x="453" y="765"/>
                  </a:cubicBezTo>
                  <a:cubicBezTo>
                    <a:pt x="347" y="872"/>
                    <a:pt x="347" y="872"/>
                    <a:pt x="347" y="872"/>
                  </a:cubicBezTo>
                  <a:cubicBezTo>
                    <a:pt x="323" y="849"/>
                    <a:pt x="323" y="849"/>
                    <a:pt x="323" y="849"/>
                  </a:cubicBezTo>
                  <a:cubicBezTo>
                    <a:pt x="315" y="840"/>
                    <a:pt x="301" y="840"/>
                    <a:pt x="292" y="849"/>
                  </a:cubicBezTo>
                  <a:cubicBezTo>
                    <a:pt x="284" y="858"/>
                    <a:pt x="284" y="872"/>
                    <a:pt x="292" y="880"/>
                  </a:cubicBezTo>
                  <a:cubicBezTo>
                    <a:pt x="331" y="919"/>
                    <a:pt x="331" y="919"/>
                    <a:pt x="331" y="919"/>
                  </a:cubicBezTo>
                  <a:cubicBezTo>
                    <a:pt x="335" y="923"/>
                    <a:pt x="341" y="925"/>
                    <a:pt x="347" y="925"/>
                  </a:cubicBezTo>
                  <a:cubicBezTo>
                    <a:pt x="352" y="925"/>
                    <a:pt x="358" y="923"/>
                    <a:pt x="362" y="919"/>
                  </a:cubicBezTo>
                  <a:close/>
                  <a:moveTo>
                    <a:pt x="362" y="1311"/>
                  </a:moveTo>
                  <a:cubicBezTo>
                    <a:pt x="484" y="1189"/>
                    <a:pt x="484" y="1189"/>
                    <a:pt x="484" y="1189"/>
                  </a:cubicBezTo>
                  <a:cubicBezTo>
                    <a:pt x="493" y="1181"/>
                    <a:pt x="493" y="1167"/>
                    <a:pt x="484" y="1158"/>
                  </a:cubicBezTo>
                  <a:cubicBezTo>
                    <a:pt x="476" y="1149"/>
                    <a:pt x="462" y="1149"/>
                    <a:pt x="453" y="1158"/>
                  </a:cubicBezTo>
                  <a:cubicBezTo>
                    <a:pt x="347" y="1265"/>
                    <a:pt x="347" y="1265"/>
                    <a:pt x="347" y="1265"/>
                  </a:cubicBezTo>
                  <a:cubicBezTo>
                    <a:pt x="323" y="1242"/>
                    <a:pt x="323" y="1242"/>
                    <a:pt x="323" y="1242"/>
                  </a:cubicBezTo>
                  <a:cubicBezTo>
                    <a:pt x="315" y="1233"/>
                    <a:pt x="301" y="1233"/>
                    <a:pt x="292" y="1242"/>
                  </a:cubicBezTo>
                  <a:cubicBezTo>
                    <a:pt x="284" y="1250"/>
                    <a:pt x="284" y="1264"/>
                    <a:pt x="292" y="1273"/>
                  </a:cubicBezTo>
                  <a:cubicBezTo>
                    <a:pt x="331" y="1311"/>
                    <a:pt x="331" y="1311"/>
                    <a:pt x="331" y="1311"/>
                  </a:cubicBezTo>
                  <a:cubicBezTo>
                    <a:pt x="335" y="1316"/>
                    <a:pt x="341" y="1318"/>
                    <a:pt x="347" y="1318"/>
                  </a:cubicBezTo>
                  <a:cubicBezTo>
                    <a:pt x="352" y="1318"/>
                    <a:pt x="358" y="1316"/>
                    <a:pt x="362" y="131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44688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ct 55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2" y="1192"/>
          <a:ext cx="1190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5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72500" y="467244"/>
            <a:ext cx="8199900" cy="498598"/>
          </a:xfrm>
        </p:spPr>
        <p:txBody>
          <a:bodyPr/>
          <a:lstStyle/>
          <a:p>
            <a:r>
              <a:rPr lang="ru-RU" sz="1800" dirty="0" smtClean="0"/>
              <a:t>Возможные темы для включения в новый закон, </a:t>
            </a:r>
            <a:r>
              <a:rPr lang="ru-RU" sz="1800" dirty="0"/>
              <a:t>прочие будут детализованы в подзаконных актах</a:t>
            </a:r>
            <a:endParaRPr lang="de-DE" sz="1800" dirty="0"/>
          </a:p>
        </p:txBody>
      </p:sp>
      <p:sp>
        <p:nvSpPr>
          <p:cNvPr id="77" name="ee4pFootnotes"/>
          <p:cNvSpPr>
            <a:spLocks noChangeArrowheads="1"/>
          </p:cNvSpPr>
          <p:nvPr/>
        </p:nvSpPr>
        <p:spPr bwMode="auto">
          <a:xfrm>
            <a:off x="463928" y="4686082"/>
            <a:ext cx="5386500" cy="246221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vert="horz" wrap="square" lIns="0" tIns="0" rIns="0" bIns="0" anchor="b" anchorCtr="0">
            <a:spAutoFit/>
          </a:bodyPr>
          <a:lstStyle/>
          <a:p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Источник: ФЗ о </a:t>
            </a:r>
            <a:r>
              <a:rPr lang="ru-RU" sz="800" dirty="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связи</a:t>
            </a: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, ФЗ о </a:t>
            </a:r>
            <a:r>
              <a:rPr lang="ru-RU" sz="800" dirty="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персональных </a:t>
            </a: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данных, ФЗ о СМИ, ФЗ об </a:t>
            </a:r>
            <a:r>
              <a:rPr lang="ru-RU" sz="800" dirty="0" smtClean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информации</a:t>
            </a:r>
            <a:r>
              <a:rPr lang="ru-RU" sz="800" dirty="0">
                <a:solidFill>
                  <a:schemeClr val="bg1">
                    <a:lumMod val="50000"/>
                  </a:schemeClr>
                </a:solidFill>
                <a:latin typeface="Trebuchet MS" panose="020B0603020202020204" pitchFamily="34" charset="0"/>
                <a:cs typeface="Arial" pitchFamily="34" charset="0"/>
              </a:rPr>
              <a:t>, международные примеры регулирования (ЕС, Сингапур, Великобритания, США)</a:t>
            </a:r>
          </a:p>
        </p:txBody>
      </p:sp>
      <p:grpSp>
        <p:nvGrpSpPr>
          <p:cNvPr id="78" name="Group 77"/>
          <p:cNvGrpSpPr/>
          <p:nvPr/>
        </p:nvGrpSpPr>
        <p:grpSpPr>
          <a:xfrm>
            <a:off x="369971" y="1242550"/>
            <a:ext cx="2423777" cy="325510"/>
            <a:chOff x="493295" y="1462794"/>
            <a:chExt cx="3231702" cy="433880"/>
          </a:xfrm>
        </p:grpSpPr>
        <p:sp>
          <p:nvSpPr>
            <p:cNvPr id="79" name="Rectangle 78"/>
            <p:cNvSpPr/>
            <p:nvPr/>
          </p:nvSpPr>
          <p:spPr>
            <a:xfrm>
              <a:off x="493295" y="1588873"/>
              <a:ext cx="418760" cy="162513"/>
            </a:xfrm>
            <a:prstGeom prst="rect">
              <a:avLst/>
            </a:prstGeom>
            <a:solidFill>
              <a:srgbClr val="D4DF33"/>
            </a:solidFill>
            <a:ln w="9525" cap="rnd" cmpd="sng" algn="ctr">
              <a:solidFill>
                <a:srgbClr val="9A9A9A"/>
              </a:solidFill>
              <a:prstDash val="sysDash"/>
              <a:round/>
              <a:headEnd type="none" w="med" len="med"/>
              <a:tailEnd type="none" w="med" len="med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750"/>
                </a:spcAft>
              </a:pPr>
              <a:endParaRPr lang="ru-RU" sz="800" dirty="0">
                <a:solidFill>
                  <a:srgbClr val="575757"/>
                </a:solidFill>
              </a:endParaRPr>
            </a:p>
          </p:txBody>
        </p:sp>
        <p:sp>
          <p:nvSpPr>
            <p:cNvPr id="80" name="Rectangle 79"/>
            <p:cNvSpPr/>
            <p:nvPr/>
          </p:nvSpPr>
          <p:spPr>
            <a:xfrm>
              <a:off x="912054" y="1462794"/>
              <a:ext cx="2812943" cy="433880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750"/>
                </a:spcAft>
              </a:pPr>
              <a:r>
                <a:rPr lang="ru-RU" sz="800" dirty="0">
                  <a:solidFill>
                    <a:srgbClr val="575757"/>
                  </a:solidFill>
                </a:rPr>
                <a:t>Элементы</a:t>
              </a:r>
              <a:r>
                <a:rPr lang="en-US" sz="800" dirty="0">
                  <a:solidFill>
                    <a:srgbClr val="575757"/>
                  </a:solidFill>
                </a:rPr>
                <a:t>,</a:t>
              </a:r>
              <a:r>
                <a:rPr lang="ru-RU" sz="800" dirty="0">
                  <a:solidFill>
                    <a:srgbClr val="575757"/>
                  </a:solidFill>
                </a:rPr>
                <a:t> которые должны быть отражены в </a:t>
              </a:r>
              <a:r>
                <a:rPr lang="ru-RU" sz="800" smtClean="0">
                  <a:solidFill>
                    <a:srgbClr val="575757"/>
                  </a:solidFill>
                </a:rPr>
                <a:t>новом законе</a:t>
              </a:r>
              <a:endParaRPr lang="ru-RU" sz="800" dirty="0">
                <a:solidFill>
                  <a:srgbClr val="575757"/>
                </a:solidFill>
              </a:endParaRPr>
            </a:p>
          </p:txBody>
        </p:sp>
      </p:grpSp>
      <p:grpSp>
        <p:nvGrpSpPr>
          <p:cNvPr id="117" name="Group 116"/>
          <p:cNvGrpSpPr/>
          <p:nvPr/>
        </p:nvGrpSpPr>
        <p:grpSpPr>
          <a:xfrm>
            <a:off x="3307082" y="1242550"/>
            <a:ext cx="2449222" cy="325510"/>
            <a:chOff x="8479504" y="1462794"/>
            <a:chExt cx="3265629" cy="433880"/>
          </a:xfrm>
        </p:grpSpPr>
        <p:sp>
          <p:nvSpPr>
            <p:cNvPr id="118" name="Rectangle 117"/>
            <p:cNvSpPr/>
            <p:nvPr/>
          </p:nvSpPr>
          <p:spPr>
            <a:xfrm>
              <a:off x="8479504" y="1588873"/>
              <a:ext cx="418760" cy="162513"/>
            </a:xfrm>
            <a:prstGeom prst="rect">
              <a:avLst/>
            </a:prstGeom>
            <a:noFill/>
            <a:ln w="9525" cap="rnd" cmpd="sng" algn="ctr">
              <a:solidFill>
                <a:srgbClr val="9A9A9A"/>
              </a:solidFill>
              <a:prstDash val="sysDash"/>
              <a:round/>
              <a:headEnd type="none" w="med" len="med"/>
              <a:tailEnd type="none" w="med" len="med"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D4DF33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lnSpc>
                  <a:spcPct val="90000"/>
                </a:lnSpc>
                <a:spcAft>
                  <a:spcPts val="750"/>
                </a:spcAft>
              </a:pPr>
              <a:endParaRPr lang="ru-RU" sz="800" dirty="0">
                <a:solidFill>
                  <a:srgbClr val="575757"/>
                </a:solidFill>
              </a:endParaRPr>
            </a:p>
          </p:txBody>
        </p:sp>
        <p:sp>
          <p:nvSpPr>
            <p:cNvPr id="119" name="Rectangle 118"/>
            <p:cNvSpPr/>
            <p:nvPr/>
          </p:nvSpPr>
          <p:spPr>
            <a:xfrm>
              <a:off x="8932190" y="1462794"/>
              <a:ext cx="2812943" cy="433880"/>
            </a:xfrm>
            <a:prstGeom prst="rect">
              <a:avLst/>
            </a:prstGeom>
            <a:noFill/>
            <a:ln w="9525" cap="rnd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rgbClr val="29BA74"/>
                  </a:solidFill>
                </a14:hiddenFill>
              </a:ext>
              <a:ext uri="{91240B29-F687-4F45-9708-019B960494DF}">
                <a14:hiddenLine xmlns:a14="http://schemas.microsoft.com/office/drawing/2010/main" w="9525" cap="rnd" cmpd="sng" algn="ctr">
                  <a:solidFill>
                    <a:srgbClr val="29BA74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>
                <a:lnSpc>
                  <a:spcPct val="90000"/>
                </a:lnSpc>
                <a:spcAft>
                  <a:spcPts val="750"/>
                </a:spcAft>
              </a:pPr>
              <a:r>
                <a:rPr lang="ru-RU" sz="800" dirty="0">
                  <a:solidFill>
                    <a:srgbClr val="575757"/>
                  </a:solidFill>
                </a:rPr>
                <a:t>Элементы, разрабатываемые в рамках подзаконного регулирования</a:t>
              </a:r>
            </a:p>
          </p:txBody>
        </p:sp>
      </p:grpSp>
      <p:sp>
        <p:nvSpPr>
          <p:cNvPr id="160" name="Rectangle 159"/>
          <p:cNvSpPr/>
          <p:nvPr/>
        </p:nvSpPr>
        <p:spPr>
          <a:xfrm>
            <a:off x="3310173" y="1588242"/>
            <a:ext cx="2458140" cy="205412"/>
          </a:xfrm>
          <a:prstGeom prst="rect">
            <a:avLst/>
          </a:prstGeom>
          <a:solidFill>
            <a:srgbClr val="D4DF33"/>
          </a:solidFill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800" dirty="0">
                <a:solidFill>
                  <a:srgbClr val="575757"/>
                </a:solidFill>
              </a:rPr>
              <a:t>Персональные данные</a:t>
            </a:r>
          </a:p>
        </p:txBody>
      </p:sp>
      <p:sp>
        <p:nvSpPr>
          <p:cNvPr id="161" name="Rectangle 160"/>
          <p:cNvSpPr/>
          <p:nvPr/>
        </p:nvSpPr>
        <p:spPr>
          <a:xfrm>
            <a:off x="3310173" y="2064201"/>
            <a:ext cx="2458140" cy="205412"/>
          </a:xfrm>
          <a:prstGeom prst="rect">
            <a:avLst/>
          </a:prstGeom>
          <a:solidFill>
            <a:srgbClr val="D4DF33"/>
          </a:solidFill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800" dirty="0">
                <a:solidFill>
                  <a:srgbClr val="575757"/>
                </a:solidFill>
              </a:rPr>
              <a:t>Промышленные данные</a:t>
            </a:r>
          </a:p>
        </p:txBody>
      </p:sp>
      <p:sp>
        <p:nvSpPr>
          <p:cNvPr id="162" name="Rectangle 161"/>
          <p:cNvSpPr/>
          <p:nvPr/>
        </p:nvSpPr>
        <p:spPr>
          <a:xfrm>
            <a:off x="3310173" y="1823211"/>
            <a:ext cx="2458140" cy="205412"/>
          </a:xfrm>
          <a:prstGeom prst="rect">
            <a:avLst/>
          </a:prstGeom>
          <a:solidFill>
            <a:srgbClr val="D4DF33"/>
          </a:solidFill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800" dirty="0">
                <a:solidFill>
                  <a:srgbClr val="575757"/>
                </a:solidFill>
              </a:rPr>
              <a:t>Большие данные</a:t>
            </a:r>
          </a:p>
        </p:txBody>
      </p:sp>
      <p:sp>
        <p:nvSpPr>
          <p:cNvPr id="163" name="Rectangle 162"/>
          <p:cNvSpPr/>
          <p:nvPr/>
        </p:nvSpPr>
        <p:spPr>
          <a:xfrm>
            <a:off x="5963969" y="1713338"/>
            <a:ext cx="2458140" cy="205412"/>
          </a:xfrm>
          <a:prstGeom prst="rect">
            <a:avLst/>
          </a:prstGeom>
          <a:solidFill>
            <a:srgbClr val="D4DF33"/>
          </a:solidFill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800" dirty="0">
                <a:solidFill>
                  <a:srgbClr val="575757"/>
                </a:solidFill>
              </a:rPr>
              <a:t>Медиа-контент</a:t>
            </a:r>
          </a:p>
        </p:txBody>
      </p:sp>
      <p:sp>
        <p:nvSpPr>
          <p:cNvPr id="164" name="Rectangle 163"/>
          <p:cNvSpPr/>
          <p:nvPr/>
        </p:nvSpPr>
        <p:spPr>
          <a:xfrm>
            <a:off x="5963968" y="1946345"/>
            <a:ext cx="2458140" cy="205412"/>
          </a:xfrm>
          <a:prstGeom prst="rect">
            <a:avLst/>
          </a:prstGeom>
          <a:solidFill>
            <a:srgbClr val="D4DF33"/>
          </a:solidFill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800" dirty="0">
                <a:solidFill>
                  <a:srgbClr val="575757"/>
                </a:solidFill>
              </a:rPr>
              <a:t>Содержание коммуникаций</a:t>
            </a:r>
          </a:p>
        </p:txBody>
      </p:sp>
      <p:cxnSp>
        <p:nvCxnSpPr>
          <p:cNvPr id="165" name="Straight Connector 164"/>
          <p:cNvCxnSpPr/>
          <p:nvPr/>
        </p:nvCxnSpPr>
        <p:spPr>
          <a:xfrm>
            <a:off x="1733752" y="2312481"/>
            <a:ext cx="6838748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Straight Connector 165"/>
          <p:cNvCxnSpPr/>
          <p:nvPr/>
        </p:nvCxnSpPr>
        <p:spPr>
          <a:xfrm>
            <a:off x="1733752" y="3077080"/>
            <a:ext cx="6838748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Straight Connector 166"/>
          <p:cNvCxnSpPr/>
          <p:nvPr/>
        </p:nvCxnSpPr>
        <p:spPr>
          <a:xfrm>
            <a:off x="1733752" y="3846940"/>
            <a:ext cx="6838748" cy="0"/>
          </a:xfrm>
          <a:prstGeom prst="line">
            <a:avLst/>
          </a:prstGeom>
          <a:ln w="9525" cap="rnd">
            <a:solidFill>
              <a:schemeClr val="tx1">
                <a:lumMod val="60000"/>
                <a:lumOff val="40000"/>
              </a:schemeClr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8" name="Rectangle 167"/>
          <p:cNvSpPr/>
          <p:nvPr/>
        </p:nvSpPr>
        <p:spPr>
          <a:xfrm>
            <a:off x="1733753" y="3898514"/>
            <a:ext cx="1133492" cy="705275"/>
          </a:xfrm>
          <a:prstGeom prst="rect">
            <a:avLst/>
          </a:prstGeom>
          <a:noFill/>
          <a:ln w="9525" cap="rnd" cmpd="sng" algn="ctr">
            <a:solidFill>
              <a:srgbClr val="29BA74"/>
            </a:solidFill>
            <a:prstDash val="sysDash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900" dirty="0">
                <a:solidFill>
                  <a:srgbClr val="575757"/>
                </a:solidFill>
              </a:rPr>
              <a:t>Физическая инфраструктура</a:t>
            </a:r>
          </a:p>
        </p:txBody>
      </p:sp>
      <p:sp>
        <p:nvSpPr>
          <p:cNvPr id="169" name="Rectangle 168"/>
          <p:cNvSpPr/>
          <p:nvPr/>
        </p:nvSpPr>
        <p:spPr>
          <a:xfrm>
            <a:off x="1733753" y="3130265"/>
            <a:ext cx="1133492" cy="670638"/>
          </a:xfrm>
          <a:prstGeom prst="rect">
            <a:avLst/>
          </a:prstGeom>
          <a:noFill/>
          <a:ln w="9525" cap="rnd" cmpd="sng" algn="ctr">
            <a:solidFill>
              <a:srgbClr val="29BA74"/>
            </a:solidFill>
            <a:prstDash val="sysDash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900" dirty="0">
                <a:solidFill>
                  <a:srgbClr val="575757"/>
                </a:solidFill>
              </a:rPr>
              <a:t>Сетевое взаимодействие</a:t>
            </a:r>
          </a:p>
        </p:txBody>
      </p:sp>
      <p:sp>
        <p:nvSpPr>
          <p:cNvPr id="170" name="Rectangle 169"/>
          <p:cNvSpPr/>
          <p:nvPr/>
        </p:nvSpPr>
        <p:spPr>
          <a:xfrm>
            <a:off x="1733753" y="2362017"/>
            <a:ext cx="1133492" cy="670638"/>
          </a:xfrm>
          <a:prstGeom prst="rect">
            <a:avLst/>
          </a:prstGeom>
          <a:noFill/>
          <a:ln w="9525" cap="rnd" cmpd="sng" algn="ctr">
            <a:solidFill>
              <a:srgbClr val="29BA74"/>
            </a:solidFill>
            <a:prstDash val="sysDash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900" dirty="0">
                <a:solidFill>
                  <a:srgbClr val="575757"/>
                </a:solidFill>
              </a:rPr>
              <a:t>Сервисы и услуги</a:t>
            </a:r>
          </a:p>
        </p:txBody>
      </p:sp>
      <p:sp>
        <p:nvSpPr>
          <p:cNvPr id="171" name="Rectangle 170"/>
          <p:cNvSpPr/>
          <p:nvPr/>
        </p:nvSpPr>
        <p:spPr>
          <a:xfrm>
            <a:off x="1733753" y="1593769"/>
            <a:ext cx="1133492" cy="670638"/>
          </a:xfrm>
          <a:prstGeom prst="rect">
            <a:avLst/>
          </a:prstGeom>
          <a:noFill/>
          <a:ln w="9525" cap="rnd" cmpd="sng" algn="ctr">
            <a:solidFill>
              <a:srgbClr val="29BA74"/>
            </a:solidFill>
            <a:prstDash val="sysDash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900" dirty="0">
                <a:solidFill>
                  <a:srgbClr val="575757"/>
                </a:solidFill>
              </a:rPr>
              <a:t>Данные и контент</a:t>
            </a:r>
          </a:p>
        </p:txBody>
      </p:sp>
      <p:grpSp>
        <p:nvGrpSpPr>
          <p:cNvPr id="172" name="bcgIcons_Network">
            <a:extLst>
              <a:ext uri="{FF2B5EF4-FFF2-40B4-BE49-F238E27FC236}">
                <a16:creationId xmlns:a16="http://schemas.microsoft.com/office/drawing/2014/main" xmlns="" id="{1552B4E7-8819-4A5B-BAA2-B1CF810393A7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047822" y="3139403"/>
            <a:ext cx="431777" cy="419799"/>
            <a:chOff x="1682" y="0"/>
            <a:chExt cx="4316" cy="4320"/>
          </a:xfrm>
        </p:grpSpPr>
        <p:sp>
          <p:nvSpPr>
            <p:cNvPr id="173" name="AutoShape 24">
              <a:extLst>
                <a:ext uri="{FF2B5EF4-FFF2-40B4-BE49-F238E27FC236}">
                  <a16:creationId xmlns:a16="http://schemas.microsoft.com/office/drawing/2014/main" xmlns="" id="{F3249088-1FEF-4F4D-B4DD-F2FB6793247A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4" name="Freeform 26">
              <a:extLst>
                <a:ext uri="{FF2B5EF4-FFF2-40B4-BE49-F238E27FC236}">
                  <a16:creationId xmlns:a16="http://schemas.microsoft.com/office/drawing/2014/main" xmlns="" id="{91F0DE8E-7721-4BF8-9C4E-7069412A86E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03" y="1356"/>
              <a:ext cx="2116" cy="2468"/>
            </a:xfrm>
            <a:custGeom>
              <a:avLst/>
              <a:gdLst>
                <a:gd name="T0" fmla="*/ 1189 w 2630"/>
                <a:gd name="T1" fmla="*/ 1962 h 3068"/>
                <a:gd name="T2" fmla="*/ 880 w 2630"/>
                <a:gd name="T3" fmla="*/ 1783 h 3068"/>
                <a:gd name="T4" fmla="*/ 880 w 2630"/>
                <a:gd name="T5" fmla="*/ 1427 h 3068"/>
                <a:gd name="T6" fmla="*/ 1189 w 2630"/>
                <a:gd name="T7" fmla="*/ 1605 h 3068"/>
                <a:gd name="T8" fmla="*/ 1189 w 2630"/>
                <a:gd name="T9" fmla="*/ 1962 h 3068"/>
                <a:gd name="T10" fmla="*/ 1313 w 2630"/>
                <a:gd name="T11" fmla="*/ 1392 h 3068"/>
                <a:gd name="T12" fmla="*/ 1622 w 2630"/>
                <a:gd name="T13" fmla="*/ 1213 h 3068"/>
                <a:gd name="T14" fmla="*/ 1313 w 2630"/>
                <a:gd name="T15" fmla="*/ 1035 h 3068"/>
                <a:gd name="T16" fmla="*/ 1004 w 2630"/>
                <a:gd name="T17" fmla="*/ 1213 h 3068"/>
                <a:gd name="T18" fmla="*/ 1313 w 2630"/>
                <a:gd name="T19" fmla="*/ 1392 h 3068"/>
                <a:gd name="T20" fmla="*/ 1437 w 2630"/>
                <a:gd name="T21" fmla="*/ 1605 h 3068"/>
                <a:gd name="T22" fmla="*/ 1437 w 2630"/>
                <a:gd name="T23" fmla="*/ 1962 h 3068"/>
                <a:gd name="T24" fmla="*/ 1746 w 2630"/>
                <a:gd name="T25" fmla="*/ 1783 h 3068"/>
                <a:gd name="T26" fmla="*/ 1746 w 2630"/>
                <a:gd name="T27" fmla="*/ 1427 h 3068"/>
                <a:gd name="T28" fmla="*/ 1437 w 2630"/>
                <a:gd name="T29" fmla="*/ 1605 h 3068"/>
                <a:gd name="T30" fmla="*/ 1313 w 2630"/>
                <a:gd name="T31" fmla="*/ 373 h 3068"/>
                <a:gd name="T32" fmla="*/ 1474 w 2630"/>
                <a:gd name="T33" fmla="*/ 280 h 3068"/>
                <a:gd name="T34" fmla="*/ 1474 w 2630"/>
                <a:gd name="T35" fmla="*/ 94 h 3068"/>
                <a:gd name="T36" fmla="*/ 1313 w 2630"/>
                <a:gd name="T37" fmla="*/ 0 h 3068"/>
                <a:gd name="T38" fmla="*/ 1152 w 2630"/>
                <a:gd name="T39" fmla="*/ 94 h 3068"/>
                <a:gd name="T40" fmla="*/ 1152 w 2630"/>
                <a:gd name="T41" fmla="*/ 280 h 3068"/>
                <a:gd name="T42" fmla="*/ 1313 w 2630"/>
                <a:gd name="T43" fmla="*/ 373 h 3068"/>
                <a:gd name="T44" fmla="*/ 1313 w 2630"/>
                <a:gd name="T45" fmla="*/ 3068 h 3068"/>
                <a:gd name="T46" fmla="*/ 1474 w 2630"/>
                <a:gd name="T47" fmla="*/ 2974 h 3068"/>
                <a:gd name="T48" fmla="*/ 1474 w 2630"/>
                <a:gd name="T49" fmla="*/ 2788 h 3068"/>
                <a:gd name="T50" fmla="*/ 1313 w 2630"/>
                <a:gd name="T51" fmla="*/ 2695 h 3068"/>
                <a:gd name="T52" fmla="*/ 1152 w 2630"/>
                <a:gd name="T53" fmla="*/ 2788 h 3068"/>
                <a:gd name="T54" fmla="*/ 1152 w 2630"/>
                <a:gd name="T55" fmla="*/ 2974 h 3068"/>
                <a:gd name="T56" fmla="*/ 1313 w 2630"/>
                <a:gd name="T57" fmla="*/ 3068 h 3068"/>
                <a:gd name="T58" fmla="*/ 2469 w 2630"/>
                <a:gd name="T59" fmla="*/ 2393 h 3068"/>
                <a:gd name="T60" fmla="*/ 2630 w 2630"/>
                <a:gd name="T61" fmla="*/ 2299 h 3068"/>
                <a:gd name="T62" fmla="*/ 2630 w 2630"/>
                <a:gd name="T63" fmla="*/ 2113 h 3068"/>
                <a:gd name="T64" fmla="*/ 2469 w 2630"/>
                <a:gd name="T65" fmla="*/ 2020 h 3068"/>
                <a:gd name="T66" fmla="*/ 2308 w 2630"/>
                <a:gd name="T67" fmla="*/ 2113 h 3068"/>
                <a:gd name="T68" fmla="*/ 2308 w 2630"/>
                <a:gd name="T69" fmla="*/ 2299 h 3068"/>
                <a:gd name="T70" fmla="*/ 2469 w 2630"/>
                <a:gd name="T71" fmla="*/ 2393 h 3068"/>
                <a:gd name="T72" fmla="*/ 2469 w 2630"/>
                <a:gd name="T73" fmla="*/ 1048 h 3068"/>
                <a:gd name="T74" fmla="*/ 2630 w 2630"/>
                <a:gd name="T75" fmla="*/ 955 h 3068"/>
                <a:gd name="T76" fmla="*/ 2630 w 2630"/>
                <a:gd name="T77" fmla="*/ 769 h 3068"/>
                <a:gd name="T78" fmla="*/ 2469 w 2630"/>
                <a:gd name="T79" fmla="*/ 675 h 3068"/>
                <a:gd name="T80" fmla="*/ 2308 w 2630"/>
                <a:gd name="T81" fmla="*/ 769 h 3068"/>
                <a:gd name="T82" fmla="*/ 2308 w 2630"/>
                <a:gd name="T83" fmla="*/ 955 h 3068"/>
                <a:gd name="T84" fmla="*/ 2469 w 2630"/>
                <a:gd name="T85" fmla="*/ 1048 h 3068"/>
                <a:gd name="T86" fmla="*/ 161 w 2630"/>
                <a:gd name="T87" fmla="*/ 2393 h 3068"/>
                <a:gd name="T88" fmla="*/ 322 w 2630"/>
                <a:gd name="T89" fmla="*/ 2299 h 3068"/>
                <a:gd name="T90" fmla="*/ 322 w 2630"/>
                <a:gd name="T91" fmla="*/ 2113 h 3068"/>
                <a:gd name="T92" fmla="*/ 161 w 2630"/>
                <a:gd name="T93" fmla="*/ 2020 h 3068"/>
                <a:gd name="T94" fmla="*/ 0 w 2630"/>
                <a:gd name="T95" fmla="*/ 2113 h 3068"/>
                <a:gd name="T96" fmla="*/ 0 w 2630"/>
                <a:gd name="T97" fmla="*/ 2299 h 3068"/>
                <a:gd name="T98" fmla="*/ 161 w 2630"/>
                <a:gd name="T99" fmla="*/ 2393 h 3068"/>
                <a:gd name="T100" fmla="*/ 161 w 2630"/>
                <a:gd name="T101" fmla="*/ 1048 h 3068"/>
                <a:gd name="T102" fmla="*/ 322 w 2630"/>
                <a:gd name="T103" fmla="*/ 955 h 3068"/>
                <a:gd name="T104" fmla="*/ 322 w 2630"/>
                <a:gd name="T105" fmla="*/ 769 h 3068"/>
                <a:gd name="T106" fmla="*/ 161 w 2630"/>
                <a:gd name="T107" fmla="*/ 675 h 3068"/>
                <a:gd name="T108" fmla="*/ 0 w 2630"/>
                <a:gd name="T109" fmla="*/ 769 h 3068"/>
                <a:gd name="T110" fmla="*/ 0 w 2630"/>
                <a:gd name="T111" fmla="*/ 955 h 3068"/>
                <a:gd name="T112" fmla="*/ 161 w 2630"/>
                <a:gd name="T113" fmla="*/ 1048 h 30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30" h="3068">
                  <a:moveTo>
                    <a:pt x="1189" y="1962"/>
                  </a:moveTo>
                  <a:lnTo>
                    <a:pt x="880" y="1783"/>
                  </a:lnTo>
                  <a:lnTo>
                    <a:pt x="880" y="1427"/>
                  </a:lnTo>
                  <a:lnTo>
                    <a:pt x="1189" y="1605"/>
                  </a:lnTo>
                  <a:lnTo>
                    <a:pt x="1189" y="1962"/>
                  </a:lnTo>
                  <a:close/>
                  <a:moveTo>
                    <a:pt x="1313" y="1392"/>
                  </a:moveTo>
                  <a:lnTo>
                    <a:pt x="1622" y="1213"/>
                  </a:lnTo>
                  <a:lnTo>
                    <a:pt x="1313" y="1035"/>
                  </a:lnTo>
                  <a:lnTo>
                    <a:pt x="1004" y="1213"/>
                  </a:lnTo>
                  <a:lnTo>
                    <a:pt x="1313" y="1392"/>
                  </a:lnTo>
                  <a:close/>
                  <a:moveTo>
                    <a:pt x="1437" y="1605"/>
                  </a:moveTo>
                  <a:lnTo>
                    <a:pt x="1437" y="1962"/>
                  </a:lnTo>
                  <a:lnTo>
                    <a:pt x="1746" y="1783"/>
                  </a:lnTo>
                  <a:lnTo>
                    <a:pt x="1746" y="1427"/>
                  </a:lnTo>
                  <a:lnTo>
                    <a:pt x="1437" y="1605"/>
                  </a:lnTo>
                  <a:close/>
                  <a:moveTo>
                    <a:pt x="1313" y="373"/>
                  </a:moveTo>
                  <a:lnTo>
                    <a:pt x="1474" y="280"/>
                  </a:lnTo>
                  <a:lnTo>
                    <a:pt x="1474" y="94"/>
                  </a:lnTo>
                  <a:lnTo>
                    <a:pt x="1313" y="0"/>
                  </a:lnTo>
                  <a:lnTo>
                    <a:pt x="1152" y="94"/>
                  </a:lnTo>
                  <a:lnTo>
                    <a:pt x="1152" y="280"/>
                  </a:lnTo>
                  <a:lnTo>
                    <a:pt x="1313" y="373"/>
                  </a:lnTo>
                  <a:close/>
                  <a:moveTo>
                    <a:pt x="1313" y="3068"/>
                  </a:moveTo>
                  <a:lnTo>
                    <a:pt x="1474" y="2974"/>
                  </a:lnTo>
                  <a:lnTo>
                    <a:pt x="1474" y="2788"/>
                  </a:lnTo>
                  <a:lnTo>
                    <a:pt x="1313" y="2695"/>
                  </a:lnTo>
                  <a:lnTo>
                    <a:pt x="1152" y="2788"/>
                  </a:lnTo>
                  <a:lnTo>
                    <a:pt x="1152" y="2974"/>
                  </a:lnTo>
                  <a:lnTo>
                    <a:pt x="1313" y="3068"/>
                  </a:lnTo>
                  <a:close/>
                  <a:moveTo>
                    <a:pt x="2469" y="2393"/>
                  </a:moveTo>
                  <a:lnTo>
                    <a:pt x="2630" y="2299"/>
                  </a:lnTo>
                  <a:lnTo>
                    <a:pt x="2630" y="2113"/>
                  </a:lnTo>
                  <a:lnTo>
                    <a:pt x="2469" y="2020"/>
                  </a:lnTo>
                  <a:lnTo>
                    <a:pt x="2308" y="2113"/>
                  </a:lnTo>
                  <a:lnTo>
                    <a:pt x="2308" y="2299"/>
                  </a:lnTo>
                  <a:lnTo>
                    <a:pt x="2469" y="2393"/>
                  </a:lnTo>
                  <a:close/>
                  <a:moveTo>
                    <a:pt x="2469" y="1048"/>
                  </a:moveTo>
                  <a:lnTo>
                    <a:pt x="2630" y="955"/>
                  </a:lnTo>
                  <a:lnTo>
                    <a:pt x="2630" y="769"/>
                  </a:lnTo>
                  <a:lnTo>
                    <a:pt x="2469" y="675"/>
                  </a:lnTo>
                  <a:lnTo>
                    <a:pt x="2308" y="769"/>
                  </a:lnTo>
                  <a:lnTo>
                    <a:pt x="2308" y="955"/>
                  </a:lnTo>
                  <a:lnTo>
                    <a:pt x="2469" y="1048"/>
                  </a:lnTo>
                  <a:close/>
                  <a:moveTo>
                    <a:pt x="161" y="2393"/>
                  </a:moveTo>
                  <a:lnTo>
                    <a:pt x="322" y="2299"/>
                  </a:lnTo>
                  <a:lnTo>
                    <a:pt x="322" y="2113"/>
                  </a:lnTo>
                  <a:lnTo>
                    <a:pt x="161" y="2020"/>
                  </a:lnTo>
                  <a:lnTo>
                    <a:pt x="0" y="2113"/>
                  </a:lnTo>
                  <a:lnTo>
                    <a:pt x="0" y="2299"/>
                  </a:lnTo>
                  <a:lnTo>
                    <a:pt x="161" y="2393"/>
                  </a:lnTo>
                  <a:close/>
                  <a:moveTo>
                    <a:pt x="161" y="1048"/>
                  </a:moveTo>
                  <a:lnTo>
                    <a:pt x="322" y="955"/>
                  </a:lnTo>
                  <a:lnTo>
                    <a:pt x="322" y="769"/>
                  </a:lnTo>
                  <a:lnTo>
                    <a:pt x="161" y="675"/>
                  </a:lnTo>
                  <a:lnTo>
                    <a:pt x="0" y="769"/>
                  </a:lnTo>
                  <a:lnTo>
                    <a:pt x="0" y="955"/>
                  </a:lnTo>
                  <a:lnTo>
                    <a:pt x="161" y="1048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5" name="Freeform 27">
              <a:extLst>
                <a:ext uri="{FF2B5EF4-FFF2-40B4-BE49-F238E27FC236}">
                  <a16:creationId xmlns:a16="http://schemas.microsoft.com/office/drawing/2014/main" xmlns="" id="{74172CEF-9D9E-4786-9D45-00CE9C9B98F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38" y="1171"/>
              <a:ext cx="2381" cy="2765"/>
            </a:xfrm>
            <a:custGeom>
              <a:avLst/>
              <a:gdLst>
                <a:gd name="T0" fmla="*/ 1395 w 1580"/>
                <a:gd name="T1" fmla="*/ 753 h 1833"/>
                <a:gd name="T2" fmla="*/ 1569 w 1580"/>
                <a:gd name="T3" fmla="*/ 665 h 1833"/>
                <a:gd name="T4" fmla="*/ 1569 w 1580"/>
                <a:gd name="T5" fmla="*/ 452 h 1833"/>
                <a:gd name="T6" fmla="*/ 1243 w 1580"/>
                <a:gd name="T7" fmla="*/ 452 h 1833"/>
                <a:gd name="T8" fmla="*/ 1086 w 1580"/>
                <a:gd name="T9" fmla="*/ 720 h 1833"/>
                <a:gd name="T10" fmla="*/ 952 w 1580"/>
                <a:gd name="T11" fmla="*/ 305 h 1833"/>
                <a:gd name="T12" fmla="*/ 952 w 1580"/>
                <a:gd name="T13" fmla="*/ 92 h 1833"/>
                <a:gd name="T14" fmla="*/ 626 w 1580"/>
                <a:gd name="T15" fmla="*/ 92 h 1833"/>
                <a:gd name="T16" fmla="*/ 626 w 1580"/>
                <a:gd name="T17" fmla="*/ 305 h 1833"/>
                <a:gd name="T18" fmla="*/ 492 w 1580"/>
                <a:gd name="T19" fmla="*/ 720 h 1833"/>
                <a:gd name="T20" fmla="*/ 337 w 1580"/>
                <a:gd name="T21" fmla="*/ 452 h 1833"/>
                <a:gd name="T22" fmla="*/ 11 w 1580"/>
                <a:gd name="T23" fmla="*/ 452 h 1833"/>
                <a:gd name="T24" fmla="*/ 11 w 1580"/>
                <a:gd name="T25" fmla="*/ 665 h 1833"/>
                <a:gd name="T26" fmla="*/ 185 w 1580"/>
                <a:gd name="T27" fmla="*/ 753 h 1833"/>
                <a:gd name="T28" fmla="*/ 470 w 1580"/>
                <a:gd name="T29" fmla="*/ 1076 h 1833"/>
                <a:gd name="T30" fmla="*/ 163 w 1580"/>
                <a:gd name="T31" fmla="*/ 1081 h 1833"/>
                <a:gd name="T32" fmla="*/ 0 w 1580"/>
                <a:gd name="T33" fmla="*/ 1363 h 1833"/>
                <a:gd name="T34" fmla="*/ 174 w 1580"/>
                <a:gd name="T35" fmla="*/ 1473 h 1833"/>
                <a:gd name="T36" fmla="*/ 348 w 1580"/>
                <a:gd name="T37" fmla="*/ 1363 h 1833"/>
                <a:gd name="T38" fmla="*/ 767 w 1580"/>
                <a:gd name="T39" fmla="*/ 1272 h 1833"/>
                <a:gd name="T40" fmla="*/ 615 w 1580"/>
                <a:gd name="T41" fmla="*/ 1548 h 1833"/>
                <a:gd name="T42" fmla="*/ 778 w 1580"/>
                <a:gd name="T43" fmla="*/ 1830 h 1833"/>
                <a:gd name="T44" fmla="*/ 952 w 1580"/>
                <a:gd name="T45" fmla="*/ 1742 h 1833"/>
                <a:gd name="T46" fmla="*/ 952 w 1580"/>
                <a:gd name="T47" fmla="*/ 1529 h 1833"/>
                <a:gd name="T48" fmla="*/ 1086 w 1580"/>
                <a:gd name="T49" fmla="*/ 1114 h 1833"/>
                <a:gd name="T50" fmla="*/ 1243 w 1580"/>
                <a:gd name="T51" fmla="*/ 1382 h 1833"/>
                <a:gd name="T52" fmla="*/ 1417 w 1580"/>
                <a:gd name="T53" fmla="*/ 1470 h 1833"/>
                <a:gd name="T54" fmla="*/ 1580 w 1580"/>
                <a:gd name="T55" fmla="*/ 1188 h 1833"/>
                <a:gd name="T56" fmla="*/ 1395 w 1580"/>
                <a:gd name="T57" fmla="*/ 1081 h 1833"/>
                <a:gd name="T58" fmla="*/ 1108 w 1580"/>
                <a:gd name="T59" fmla="*/ 758 h 1833"/>
                <a:gd name="T60" fmla="*/ 789 w 1580"/>
                <a:gd name="T61" fmla="*/ 600 h 1833"/>
                <a:gd name="T62" fmla="*/ 1276 w 1580"/>
                <a:gd name="T63" fmla="*/ 483 h 1833"/>
                <a:gd name="T64" fmla="*/ 1536 w 1580"/>
                <a:gd name="T65" fmla="*/ 634 h 1833"/>
                <a:gd name="T66" fmla="*/ 1276 w 1580"/>
                <a:gd name="T67" fmla="*/ 483 h 1833"/>
                <a:gd name="T68" fmla="*/ 919 w 1580"/>
                <a:gd name="T69" fmla="*/ 123 h 1833"/>
                <a:gd name="T70" fmla="*/ 659 w 1580"/>
                <a:gd name="T71" fmla="*/ 274 h 1833"/>
                <a:gd name="T72" fmla="*/ 174 w 1580"/>
                <a:gd name="T73" fmla="*/ 709 h 1833"/>
                <a:gd name="T74" fmla="*/ 174 w 1580"/>
                <a:gd name="T75" fmla="*/ 408 h 1833"/>
                <a:gd name="T76" fmla="*/ 304 w 1580"/>
                <a:gd name="T77" fmla="*/ 1351 h 1833"/>
                <a:gd name="T78" fmla="*/ 44 w 1580"/>
                <a:gd name="T79" fmla="*/ 1200 h 1833"/>
                <a:gd name="T80" fmla="*/ 304 w 1580"/>
                <a:gd name="T81" fmla="*/ 1351 h 1833"/>
                <a:gd name="T82" fmla="*/ 767 w 1580"/>
                <a:gd name="T83" fmla="*/ 1222 h 1833"/>
                <a:gd name="T84" fmla="*/ 919 w 1580"/>
                <a:gd name="T85" fmla="*/ 1711 h 1833"/>
                <a:gd name="T86" fmla="*/ 659 w 1580"/>
                <a:gd name="T87" fmla="*/ 1560 h 1833"/>
                <a:gd name="T88" fmla="*/ 919 w 1580"/>
                <a:gd name="T89" fmla="*/ 1711 h 1833"/>
                <a:gd name="T90" fmla="*/ 1064 w 1580"/>
                <a:gd name="T91" fmla="*/ 784 h 1833"/>
                <a:gd name="T92" fmla="*/ 1276 w 1580"/>
                <a:gd name="T93" fmla="*/ 1200 h 1833"/>
                <a:gd name="T94" fmla="*/ 1536 w 1580"/>
                <a:gd name="T95" fmla="*/ 1351 h 1833"/>
                <a:gd name="T96" fmla="*/ 1276 w 1580"/>
                <a:gd name="T97" fmla="*/ 1200 h 18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580" h="1833">
                  <a:moveTo>
                    <a:pt x="1108" y="758"/>
                  </a:moveTo>
                  <a:cubicBezTo>
                    <a:pt x="1254" y="672"/>
                    <a:pt x="1254" y="672"/>
                    <a:pt x="1254" y="672"/>
                  </a:cubicBezTo>
                  <a:cubicBezTo>
                    <a:pt x="1395" y="753"/>
                    <a:pt x="1395" y="753"/>
                    <a:pt x="1395" y="753"/>
                  </a:cubicBezTo>
                  <a:cubicBezTo>
                    <a:pt x="1399" y="755"/>
                    <a:pt x="1403" y="756"/>
                    <a:pt x="1406" y="756"/>
                  </a:cubicBezTo>
                  <a:cubicBezTo>
                    <a:pt x="1410" y="756"/>
                    <a:pt x="1414" y="755"/>
                    <a:pt x="1417" y="753"/>
                  </a:cubicBezTo>
                  <a:cubicBezTo>
                    <a:pt x="1569" y="665"/>
                    <a:pt x="1569" y="665"/>
                    <a:pt x="1569" y="665"/>
                  </a:cubicBezTo>
                  <a:cubicBezTo>
                    <a:pt x="1576" y="661"/>
                    <a:pt x="1580" y="654"/>
                    <a:pt x="1580" y="646"/>
                  </a:cubicBezTo>
                  <a:cubicBezTo>
                    <a:pt x="1580" y="471"/>
                    <a:pt x="1580" y="471"/>
                    <a:pt x="1580" y="471"/>
                  </a:cubicBezTo>
                  <a:cubicBezTo>
                    <a:pt x="1580" y="463"/>
                    <a:pt x="1576" y="456"/>
                    <a:pt x="1569" y="452"/>
                  </a:cubicBezTo>
                  <a:cubicBezTo>
                    <a:pt x="1417" y="364"/>
                    <a:pt x="1417" y="364"/>
                    <a:pt x="1417" y="364"/>
                  </a:cubicBezTo>
                  <a:cubicBezTo>
                    <a:pt x="1411" y="360"/>
                    <a:pt x="1402" y="360"/>
                    <a:pt x="1395" y="364"/>
                  </a:cubicBezTo>
                  <a:cubicBezTo>
                    <a:pt x="1243" y="452"/>
                    <a:pt x="1243" y="452"/>
                    <a:pt x="1243" y="452"/>
                  </a:cubicBezTo>
                  <a:cubicBezTo>
                    <a:pt x="1237" y="456"/>
                    <a:pt x="1232" y="463"/>
                    <a:pt x="1232" y="471"/>
                  </a:cubicBezTo>
                  <a:cubicBezTo>
                    <a:pt x="1232" y="634"/>
                    <a:pt x="1232" y="634"/>
                    <a:pt x="1232" y="634"/>
                  </a:cubicBezTo>
                  <a:cubicBezTo>
                    <a:pt x="1086" y="720"/>
                    <a:pt x="1086" y="720"/>
                    <a:pt x="1086" y="720"/>
                  </a:cubicBezTo>
                  <a:cubicBezTo>
                    <a:pt x="811" y="562"/>
                    <a:pt x="811" y="562"/>
                    <a:pt x="811" y="562"/>
                  </a:cubicBezTo>
                  <a:cubicBezTo>
                    <a:pt x="811" y="387"/>
                    <a:pt x="811" y="387"/>
                    <a:pt x="811" y="387"/>
                  </a:cubicBezTo>
                  <a:cubicBezTo>
                    <a:pt x="952" y="305"/>
                    <a:pt x="952" y="305"/>
                    <a:pt x="952" y="305"/>
                  </a:cubicBezTo>
                  <a:cubicBezTo>
                    <a:pt x="959" y="301"/>
                    <a:pt x="963" y="294"/>
                    <a:pt x="963" y="286"/>
                  </a:cubicBezTo>
                  <a:cubicBezTo>
                    <a:pt x="963" y="111"/>
                    <a:pt x="963" y="111"/>
                    <a:pt x="963" y="111"/>
                  </a:cubicBezTo>
                  <a:cubicBezTo>
                    <a:pt x="963" y="103"/>
                    <a:pt x="959" y="96"/>
                    <a:pt x="952" y="92"/>
                  </a:cubicBezTo>
                  <a:cubicBezTo>
                    <a:pt x="800" y="4"/>
                    <a:pt x="800" y="4"/>
                    <a:pt x="800" y="4"/>
                  </a:cubicBezTo>
                  <a:cubicBezTo>
                    <a:pt x="793" y="0"/>
                    <a:pt x="785" y="0"/>
                    <a:pt x="778" y="4"/>
                  </a:cubicBezTo>
                  <a:cubicBezTo>
                    <a:pt x="626" y="92"/>
                    <a:pt x="626" y="92"/>
                    <a:pt x="626" y="92"/>
                  </a:cubicBezTo>
                  <a:cubicBezTo>
                    <a:pt x="619" y="96"/>
                    <a:pt x="615" y="103"/>
                    <a:pt x="615" y="111"/>
                  </a:cubicBezTo>
                  <a:cubicBezTo>
                    <a:pt x="615" y="286"/>
                    <a:pt x="615" y="286"/>
                    <a:pt x="615" y="286"/>
                  </a:cubicBezTo>
                  <a:cubicBezTo>
                    <a:pt x="615" y="294"/>
                    <a:pt x="619" y="301"/>
                    <a:pt x="626" y="305"/>
                  </a:cubicBezTo>
                  <a:cubicBezTo>
                    <a:pt x="767" y="387"/>
                    <a:pt x="767" y="387"/>
                    <a:pt x="767" y="387"/>
                  </a:cubicBezTo>
                  <a:cubicBezTo>
                    <a:pt x="767" y="562"/>
                    <a:pt x="767" y="562"/>
                    <a:pt x="767" y="562"/>
                  </a:cubicBezTo>
                  <a:cubicBezTo>
                    <a:pt x="492" y="720"/>
                    <a:pt x="492" y="720"/>
                    <a:pt x="492" y="720"/>
                  </a:cubicBezTo>
                  <a:cubicBezTo>
                    <a:pt x="348" y="634"/>
                    <a:pt x="348" y="634"/>
                    <a:pt x="348" y="634"/>
                  </a:cubicBezTo>
                  <a:cubicBezTo>
                    <a:pt x="348" y="471"/>
                    <a:pt x="348" y="471"/>
                    <a:pt x="348" y="471"/>
                  </a:cubicBezTo>
                  <a:cubicBezTo>
                    <a:pt x="348" y="463"/>
                    <a:pt x="344" y="456"/>
                    <a:pt x="337" y="452"/>
                  </a:cubicBezTo>
                  <a:cubicBezTo>
                    <a:pt x="185" y="364"/>
                    <a:pt x="185" y="364"/>
                    <a:pt x="185" y="364"/>
                  </a:cubicBezTo>
                  <a:cubicBezTo>
                    <a:pt x="179" y="360"/>
                    <a:pt x="170" y="360"/>
                    <a:pt x="163" y="364"/>
                  </a:cubicBezTo>
                  <a:cubicBezTo>
                    <a:pt x="11" y="452"/>
                    <a:pt x="11" y="452"/>
                    <a:pt x="11" y="452"/>
                  </a:cubicBezTo>
                  <a:cubicBezTo>
                    <a:pt x="5" y="456"/>
                    <a:pt x="0" y="463"/>
                    <a:pt x="0" y="471"/>
                  </a:cubicBezTo>
                  <a:cubicBezTo>
                    <a:pt x="0" y="646"/>
                    <a:pt x="0" y="646"/>
                    <a:pt x="0" y="646"/>
                  </a:cubicBezTo>
                  <a:cubicBezTo>
                    <a:pt x="0" y="654"/>
                    <a:pt x="5" y="661"/>
                    <a:pt x="11" y="665"/>
                  </a:cubicBezTo>
                  <a:cubicBezTo>
                    <a:pt x="163" y="753"/>
                    <a:pt x="163" y="753"/>
                    <a:pt x="163" y="753"/>
                  </a:cubicBezTo>
                  <a:cubicBezTo>
                    <a:pt x="167" y="755"/>
                    <a:pt x="171" y="756"/>
                    <a:pt x="174" y="756"/>
                  </a:cubicBezTo>
                  <a:cubicBezTo>
                    <a:pt x="178" y="756"/>
                    <a:pt x="182" y="755"/>
                    <a:pt x="185" y="753"/>
                  </a:cubicBezTo>
                  <a:cubicBezTo>
                    <a:pt x="326" y="672"/>
                    <a:pt x="326" y="672"/>
                    <a:pt x="326" y="672"/>
                  </a:cubicBezTo>
                  <a:cubicBezTo>
                    <a:pt x="470" y="758"/>
                    <a:pt x="470" y="758"/>
                    <a:pt x="470" y="758"/>
                  </a:cubicBezTo>
                  <a:cubicBezTo>
                    <a:pt x="470" y="1076"/>
                    <a:pt x="470" y="1076"/>
                    <a:pt x="470" y="1076"/>
                  </a:cubicBezTo>
                  <a:cubicBezTo>
                    <a:pt x="326" y="1162"/>
                    <a:pt x="326" y="1162"/>
                    <a:pt x="326" y="1162"/>
                  </a:cubicBezTo>
                  <a:cubicBezTo>
                    <a:pt x="185" y="1081"/>
                    <a:pt x="185" y="1081"/>
                    <a:pt x="185" y="1081"/>
                  </a:cubicBezTo>
                  <a:cubicBezTo>
                    <a:pt x="179" y="1077"/>
                    <a:pt x="170" y="1077"/>
                    <a:pt x="163" y="1081"/>
                  </a:cubicBezTo>
                  <a:cubicBezTo>
                    <a:pt x="11" y="1169"/>
                    <a:pt x="11" y="1169"/>
                    <a:pt x="11" y="1169"/>
                  </a:cubicBezTo>
                  <a:cubicBezTo>
                    <a:pt x="5" y="1173"/>
                    <a:pt x="0" y="1180"/>
                    <a:pt x="0" y="1188"/>
                  </a:cubicBezTo>
                  <a:cubicBezTo>
                    <a:pt x="0" y="1363"/>
                    <a:pt x="0" y="1363"/>
                    <a:pt x="0" y="1363"/>
                  </a:cubicBezTo>
                  <a:cubicBezTo>
                    <a:pt x="0" y="1371"/>
                    <a:pt x="5" y="1378"/>
                    <a:pt x="11" y="1382"/>
                  </a:cubicBezTo>
                  <a:cubicBezTo>
                    <a:pt x="163" y="1470"/>
                    <a:pt x="163" y="1470"/>
                    <a:pt x="163" y="1470"/>
                  </a:cubicBezTo>
                  <a:cubicBezTo>
                    <a:pt x="167" y="1472"/>
                    <a:pt x="171" y="1473"/>
                    <a:pt x="174" y="1473"/>
                  </a:cubicBezTo>
                  <a:cubicBezTo>
                    <a:pt x="178" y="1473"/>
                    <a:pt x="182" y="1472"/>
                    <a:pt x="185" y="1470"/>
                  </a:cubicBezTo>
                  <a:cubicBezTo>
                    <a:pt x="337" y="1382"/>
                    <a:pt x="337" y="1382"/>
                    <a:pt x="337" y="1382"/>
                  </a:cubicBezTo>
                  <a:cubicBezTo>
                    <a:pt x="344" y="1378"/>
                    <a:pt x="348" y="1371"/>
                    <a:pt x="348" y="1363"/>
                  </a:cubicBezTo>
                  <a:cubicBezTo>
                    <a:pt x="348" y="1200"/>
                    <a:pt x="348" y="1200"/>
                    <a:pt x="348" y="1200"/>
                  </a:cubicBezTo>
                  <a:cubicBezTo>
                    <a:pt x="492" y="1114"/>
                    <a:pt x="492" y="1114"/>
                    <a:pt x="492" y="1114"/>
                  </a:cubicBezTo>
                  <a:cubicBezTo>
                    <a:pt x="767" y="1272"/>
                    <a:pt x="767" y="1272"/>
                    <a:pt x="767" y="1272"/>
                  </a:cubicBezTo>
                  <a:cubicBezTo>
                    <a:pt x="767" y="1447"/>
                    <a:pt x="767" y="1447"/>
                    <a:pt x="767" y="1447"/>
                  </a:cubicBezTo>
                  <a:cubicBezTo>
                    <a:pt x="626" y="1529"/>
                    <a:pt x="626" y="1529"/>
                    <a:pt x="626" y="1529"/>
                  </a:cubicBezTo>
                  <a:cubicBezTo>
                    <a:pt x="619" y="1533"/>
                    <a:pt x="615" y="1540"/>
                    <a:pt x="615" y="1548"/>
                  </a:cubicBezTo>
                  <a:cubicBezTo>
                    <a:pt x="615" y="1723"/>
                    <a:pt x="615" y="1723"/>
                    <a:pt x="615" y="1723"/>
                  </a:cubicBezTo>
                  <a:cubicBezTo>
                    <a:pt x="615" y="1731"/>
                    <a:pt x="619" y="1738"/>
                    <a:pt x="626" y="1742"/>
                  </a:cubicBezTo>
                  <a:cubicBezTo>
                    <a:pt x="778" y="1830"/>
                    <a:pt x="778" y="1830"/>
                    <a:pt x="778" y="1830"/>
                  </a:cubicBezTo>
                  <a:cubicBezTo>
                    <a:pt x="781" y="1832"/>
                    <a:pt x="785" y="1833"/>
                    <a:pt x="789" y="1833"/>
                  </a:cubicBezTo>
                  <a:cubicBezTo>
                    <a:pt x="793" y="1833"/>
                    <a:pt x="797" y="1832"/>
                    <a:pt x="800" y="1830"/>
                  </a:cubicBezTo>
                  <a:cubicBezTo>
                    <a:pt x="952" y="1742"/>
                    <a:pt x="952" y="1742"/>
                    <a:pt x="952" y="1742"/>
                  </a:cubicBezTo>
                  <a:cubicBezTo>
                    <a:pt x="959" y="1738"/>
                    <a:pt x="963" y="1731"/>
                    <a:pt x="963" y="1723"/>
                  </a:cubicBezTo>
                  <a:cubicBezTo>
                    <a:pt x="963" y="1548"/>
                    <a:pt x="963" y="1548"/>
                    <a:pt x="963" y="1548"/>
                  </a:cubicBezTo>
                  <a:cubicBezTo>
                    <a:pt x="963" y="1540"/>
                    <a:pt x="959" y="1533"/>
                    <a:pt x="952" y="1529"/>
                  </a:cubicBezTo>
                  <a:cubicBezTo>
                    <a:pt x="811" y="1447"/>
                    <a:pt x="811" y="1447"/>
                    <a:pt x="811" y="1447"/>
                  </a:cubicBezTo>
                  <a:cubicBezTo>
                    <a:pt x="811" y="1272"/>
                    <a:pt x="811" y="1272"/>
                    <a:pt x="811" y="1272"/>
                  </a:cubicBezTo>
                  <a:cubicBezTo>
                    <a:pt x="1086" y="1114"/>
                    <a:pt x="1086" y="1114"/>
                    <a:pt x="1086" y="1114"/>
                  </a:cubicBezTo>
                  <a:cubicBezTo>
                    <a:pt x="1232" y="1200"/>
                    <a:pt x="1232" y="1200"/>
                    <a:pt x="1232" y="1200"/>
                  </a:cubicBezTo>
                  <a:cubicBezTo>
                    <a:pt x="1232" y="1363"/>
                    <a:pt x="1232" y="1363"/>
                    <a:pt x="1232" y="1363"/>
                  </a:cubicBezTo>
                  <a:cubicBezTo>
                    <a:pt x="1232" y="1371"/>
                    <a:pt x="1237" y="1378"/>
                    <a:pt x="1243" y="1382"/>
                  </a:cubicBezTo>
                  <a:cubicBezTo>
                    <a:pt x="1395" y="1470"/>
                    <a:pt x="1395" y="1470"/>
                    <a:pt x="1395" y="1470"/>
                  </a:cubicBezTo>
                  <a:cubicBezTo>
                    <a:pt x="1399" y="1472"/>
                    <a:pt x="1403" y="1473"/>
                    <a:pt x="1406" y="1473"/>
                  </a:cubicBezTo>
                  <a:cubicBezTo>
                    <a:pt x="1410" y="1473"/>
                    <a:pt x="1414" y="1472"/>
                    <a:pt x="1417" y="1470"/>
                  </a:cubicBezTo>
                  <a:cubicBezTo>
                    <a:pt x="1569" y="1382"/>
                    <a:pt x="1569" y="1382"/>
                    <a:pt x="1569" y="1382"/>
                  </a:cubicBezTo>
                  <a:cubicBezTo>
                    <a:pt x="1576" y="1378"/>
                    <a:pt x="1580" y="1371"/>
                    <a:pt x="1580" y="1363"/>
                  </a:cubicBezTo>
                  <a:cubicBezTo>
                    <a:pt x="1580" y="1188"/>
                    <a:pt x="1580" y="1188"/>
                    <a:pt x="1580" y="1188"/>
                  </a:cubicBezTo>
                  <a:cubicBezTo>
                    <a:pt x="1580" y="1180"/>
                    <a:pt x="1576" y="1173"/>
                    <a:pt x="1569" y="1169"/>
                  </a:cubicBezTo>
                  <a:cubicBezTo>
                    <a:pt x="1417" y="1081"/>
                    <a:pt x="1417" y="1081"/>
                    <a:pt x="1417" y="1081"/>
                  </a:cubicBezTo>
                  <a:cubicBezTo>
                    <a:pt x="1411" y="1077"/>
                    <a:pt x="1402" y="1077"/>
                    <a:pt x="1395" y="1081"/>
                  </a:cubicBezTo>
                  <a:cubicBezTo>
                    <a:pt x="1254" y="1162"/>
                    <a:pt x="1254" y="1162"/>
                    <a:pt x="1254" y="1162"/>
                  </a:cubicBezTo>
                  <a:cubicBezTo>
                    <a:pt x="1108" y="1076"/>
                    <a:pt x="1108" y="1076"/>
                    <a:pt x="1108" y="1076"/>
                  </a:cubicBezTo>
                  <a:lnTo>
                    <a:pt x="1108" y="758"/>
                  </a:lnTo>
                  <a:close/>
                  <a:moveTo>
                    <a:pt x="789" y="892"/>
                  </a:moveTo>
                  <a:cubicBezTo>
                    <a:pt x="536" y="746"/>
                    <a:pt x="536" y="746"/>
                    <a:pt x="536" y="746"/>
                  </a:cubicBezTo>
                  <a:cubicBezTo>
                    <a:pt x="789" y="600"/>
                    <a:pt x="789" y="600"/>
                    <a:pt x="789" y="600"/>
                  </a:cubicBezTo>
                  <a:cubicBezTo>
                    <a:pt x="1042" y="746"/>
                    <a:pt x="1042" y="746"/>
                    <a:pt x="1042" y="746"/>
                  </a:cubicBezTo>
                  <a:lnTo>
                    <a:pt x="789" y="892"/>
                  </a:lnTo>
                  <a:close/>
                  <a:moveTo>
                    <a:pt x="1276" y="483"/>
                  </a:moveTo>
                  <a:cubicBezTo>
                    <a:pt x="1406" y="408"/>
                    <a:pt x="1406" y="408"/>
                    <a:pt x="1406" y="408"/>
                  </a:cubicBezTo>
                  <a:cubicBezTo>
                    <a:pt x="1536" y="483"/>
                    <a:pt x="1536" y="483"/>
                    <a:pt x="1536" y="483"/>
                  </a:cubicBezTo>
                  <a:cubicBezTo>
                    <a:pt x="1536" y="634"/>
                    <a:pt x="1536" y="634"/>
                    <a:pt x="1536" y="634"/>
                  </a:cubicBezTo>
                  <a:cubicBezTo>
                    <a:pt x="1406" y="709"/>
                    <a:pt x="1406" y="709"/>
                    <a:pt x="1406" y="709"/>
                  </a:cubicBezTo>
                  <a:cubicBezTo>
                    <a:pt x="1276" y="634"/>
                    <a:pt x="1276" y="634"/>
                    <a:pt x="1276" y="634"/>
                  </a:cubicBezTo>
                  <a:lnTo>
                    <a:pt x="1276" y="483"/>
                  </a:lnTo>
                  <a:close/>
                  <a:moveTo>
                    <a:pt x="659" y="123"/>
                  </a:moveTo>
                  <a:cubicBezTo>
                    <a:pt x="789" y="48"/>
                    <a:pt x="789" y="48"/>
                    <a:pt x="789" y="48"/>
                  </a:cubicBezTo>
                  <a:cubicBezTo>
                    <a:pt x="919" y="123"/>
                    <a:pt x="919" y="123"/>
                    <a:pt x="919" y="123"/>
                  </a:cubicBezTo>
                  <a:cubicBezTo>
                    <a:pt x="919" y="274"/>
                    <a:pt x="919" y="274"/>
                    <a:pt x="919" y="274"/>
                  </a:cubicBezTo>
                  <a:cubicBezTo>
                    <a:pt x="789" y="349"/>
                    <a:pt x="789" y="349"/>
                    <a:pt x="789" y="349"/>
                  </a:cubicBezTo>
                  <a:cubicBezTo>
                    <a:pt x="659" y="274"/>
                    <a:pt x="659" y="274"/>
                    <a:pt x="659" y="274"/>
                  </a:cubicBezTo>
                  <a:lnTo>
                    <a:pt x="659" y="123"/>
                  </a:lnTo>
                  <a:close/>
                  <a:moveTo>
                    <a:pt x="304" y="634"/>
                  </a:moveTo>
                  <a:cubicBezTo>
                    <a:pt x="174" y="709"/>
                    <a:pt x="174" y="709"/>
                    <a:pt x="174" y="709"/>
                  </a:cubicBezTo>
                  <a:cubicBezTo>
                    <a:pt x="44" y="634"/>
                    <a:pt x="44" y="634"/>
                    <a:pt x="44" y="634"/>
                  </a:cubicBezTo>
                  <a:cubicBezTo>
                    <a:pt x="44" y="483"/>
                    <a:pt x="44" y="483"/>
                    <a:pt x="44" y="483"/>
                  </a:cubicBezTo>
                  <a:cubicBezTo>
                    <a:pt x="174" y="408"/>
                    <a:pt x="174" y="408"/>
                    <a:pt x="174" y="408"/>
                  </a:cubicBezTo>
                  <a:cubicBezTo>
                    <a:pt x="304" y="483"/>
                    <a:pt x="304" y="483"/>
                    <a:pt x="304" y="483"/>
                  </a:cubicBezTo>
                  <a:lnTo>
                    <a:pt x="304" y="634"/>
                  </a:lnTo>
                  <a:close/>
                  <a:moveTo>
                    <a:pt x="304" y="1351"/>
                  </a:moveTo>
                  <a:cubicBezTo>
                    <a:pt x="174" y="1426"/>
                    <a:pt x="174" y="1426"/>
                    <a:pt x="174" y="1426"/>
                  </a:cubicBezTo>
                  <a:cubicBezTo>
                    <a:pt x="44" y="1351"/>
                    <a:pt x="44" y="1351"/>
                    <a:pt x="44" y="1351"/>
                  </a:cubicBezTo>
                  <a:cubicBezTo>
                    <a:pt x="44" y="1200"/>
                    <a:pt x="44" y="1200"/>
                    <a:pt x="44" y="1200"/>
                  </a:cubicBezTo>
                  <a:cubicBezTo>
                    <a:pt x="174" y="1125"/>
                    <a:pt x="174" y="1125"/>
                    <a:pt x="174" y="1125"/>
                  </a:cubicBezTo>
                  <a:cubicBezTo>
                    <a:pt x="304" y="1200"/>
                    <a:pt x="304" y="1200"/>
                    <a:pt x="304" y="1200"/>
                  </a:cubicBezTo>
                  <a:lnTo>
                    <a:pt x="304" y="1351"/>
                  </a:lnTo>
                  <a:close/>
                  <a:moveTo>
                    <a:pt x="514" y="784"/>
                  </a:moveTo>
                  <a:cubicBezTo>
                    <a:pt x="767" y="930"/>
                    <a:pt x="767" y="930"/>
                    <a:pt x="767" y="930"/>
                  </a:cubicBezTo>
                  <a:cubicBezTo>
                    <a:pt x="767" y="1222"/>
                    <a:pt x="767" y="1222"/>
                    <a:pt x="767" y="1222"/>
                  </a:cubicBezTo>
                  <a:cubicBezTo>
                    <a:pt x="514" y="1076"/>
                    <a:pt x="514" y="1076"/>
                    <a:pt x="514" y="1076"/>
                  </a:cubicBezTo>
                  <a:lnTo>
                    <a:pt x="514" y="784"/>
                  </a:lnTo>
                  <a:close/>
                  <a:moveTo>
                    <a:pt x="919" y="1711"/>
                  </a:moveTo>
                  <a:cubicBezTo>
                    <a:pt x="789" y="1786"/>
                    <a:pt x="789" y="1786"/>
                    <a:pt x="789" y="1786"/>
                  </a:cubicBezTo>
                  <a:cubicBezTo>
                    <a:pt x="659" y="1711"/>
                    <a:pt x="659" y="1711"/>
                    <a:pt x="659" y="1711"/>
                  </a:cubicBezTo>
                  <a:cubicBezTo>
                    <a:pt x="659" y="1560"/>
                    <a:pt x="659" y="1560"/>
                    <a:pt x="659" y="1560"/>
                  </a:cubicBezTo>
                  <a:cubicBezTo>
                    <a:pt x="789" y="1485"/>
                    <a:pt x="789" y="1485"/>
                    <a:pt x="789" y="1485"/>
                  </a:cubicBezTo>
                  <a:cubicBezTo>
                    <a:pt x="919" y="1560"/>
                    <a:pt x="919" y="1560"/>
                    <a:pt x="919" y="1560"/>
                  </a:cubicBezTo>
                  <a:lnTo>
                    <a:pt x="919" y="1711"/>
                  </a:lnTo>
                  <a:close/>
                  <a:moveTo>
                    <a:pt x="811" y="1222"/>
                  </a:moveTo>
                  <a:cubicBezTo>
                    <a:pt x="811" y="930"/>
                    <a:pt x="811" y="930"/>
                    <a:pt x="811" y="930"/>
                  </a:cubicBezTo>
                  <a:cubicBezTo>
                    <a:pt x="1064" y="784"/>
                    <a:pt x="1064" y="784"/>
                    <a:pt x="1064" y="784"/>
                  </a:cubicBezTo>
                  <a:cubicBezTo>
                    <a:pt x="1064" y="1076"/>
                    <a:pt x="1064" y="1076"/>
                    <a:pt x="1064" y="1076"/>
                  </a:cubicBezTo>
                  <a:lnTo>
                    <a:pt x="811" y="1222"/>
                  </a:lnTo>
                  <a:close/>
                  <a:moveTo>
                    <a:pt x="1276" y="1200"/>
                  </a:moveTo>
                  <a:cubicBezTo>
                    <a:pt x="1406" y="1125"/>
                    <a:pt x="1406" y="1125"/>
                    <a:pt x="1406" y="1125"/>
                  </a:cubicBezTo>
                  <a:cubicBezTo>
                    <a:pt x="1536" y="1200"/>
                    <a:pt x="1536" y="1200"/>
                    <a:pt x="1536" y="1200"/>
                  </a:cubicBezTo>
                  <a:cubicBezTo>
                    <a:pt x="1536" y="1351"/>
                    <a:pt x="1536" y="1351"/>
                    <a:pt x="1536" y="1351"/>
                  </a:cubicBezTo>
                  <a:cubicBezTo>
                    <a:pt x="1406" y="1426"/>
                    <a:pt x="1406" y="1426"/>
                    <a:pt x="1406" y="1426"/>
                  </a:cubicBezTo>
                  <a:cubicBezTo>
                    <a:pt x="1276" y="1351"/>
                    <a:pt x="1276" y="1351"/>
                    <a:pt x="1276" y="1351"/>
                  </a:cubicBezTo>
                  <a:lnTo>
                    <a:pt x="1276" y="1200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grpSp>
        <p:nvGrpSpPr>
          <p:cNvPr id="176" name="bcgIcons_BigDataAdvancedAnalytics">
            <a:extLst>
              <a:ext uri="{FF2B5EF4-FFF2-40B4-BE49-F238E27FC236}">
                <a16:creationId xmlns:a16="http://schemas.microsoft.com/office/drawing/2014/main" xmlns="" id="{1E6F2CA5-3D7F-4902-8F27-E316A278840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047822" y="1667778"/>
            <a:ext cx="431777" cy="419799"/>
            <a:chOff x="1682" y="0"/>
            <a:chExt cx="4316" cy="4320"/>
          </a:xfrm>
        </p:grpSpPr>
        <p:sp>
          <p:nvSpPr>
            <p:cNvPr id="177" name="AutoShape 33">
              <a:extLst>
                <a:ext uri="{FF2B5EF4-FFF2-40B4-BE49-F238E27FC236}">
                  <a16:creationId xmlns:a16="http://schemas.microsoft.com/office/drawing/2014/main" xmlns="" id="{BEA87593-71B2-42B3-8D7D-5D8C76D3E4A3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8" name="Freeform 35">
              <a:extLst>
                <a:ext uri="{FF2B5EF4-FFF2-40B4-BE49-F238E27FC236}">
                  <a16:creationId xmlns:a16="http://schemas.microsoft.com/office/drawing/2014/main" xmlns="" id="{2C6EA767-80DA-4F8F-A48D-51770E3E0E1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133" y="444"/>
              <a:ext cx="3417" cy="3428"/>
            </a:xfrm>
            <a:custGeom>
              <a:avLst/>
              <a:gdLst>
                <a:gd name="T0" fmla="*/ 236 w 1824"/>
                <a:gd name="T1" fmla="*/ 118 h 1828"/>
                <a:gd name="T2" fmla="*/ 118 w 1824"/>
                <a:gd name="T3" fmla="*/ 191 h 1828"/>
                <a:gd name="T4" fmla="*/ 414 w 1824"/>
                <a:gd name="T5" fmla="*/ 22 h 1828"/>
                <a:gd name="T6" fmla="*/ 458 w 1824"/>
                <a:gd name="T7" fmla="*/ 22 h 1828"/>
                <a:gd name="T8" fmla="*/ 753 w 1824"/>
                <a:gd name="T9" fmla="*/ 0 h 1828"/>
                <a:gd name="T10" fmla="*/ 680 w 1824"/>
                <a:gd name="T11" fmla="*/ 118 h 1828"/>
                <a:gd name="T12" fmla="*/ 1071 w 1824"/>
                <a:gd name="T13" fmla="*/ 0 h 1828"/>
                <a:gd name="T14" fmla="*/ 1093 w 1824"/>
                <a:gd name="T15" fmla="*/ 213 h 1828"/>
                <a:gd name="T16" fmla="*/ 1366 w 1824"/>
                <a:gd name="T17" fmla="*/ 22 h 1828"/>
                <a:gd name="T18" fmla="*/ 1410 w 1824"/>
                <a:gd name="T19" fmla="*/ 22 h 1828"/>
                <a:gd name="T20" fmla="*/ 1706 w 1824"/>
                <a:gd name="T21" fmla="*/ 0 h 1828"/>
                <a:gd name="T22" fmla="*/ 1632 w 1824"/>
                <a:gd name="T23" fmla="*/ 118 h 1828"/>
                <a:gd name="T24" fmla="*/ 118 w 1824"/>
                <a:gd name="T25" fmla="*/ 319 h 1828"/>
                <a:gd name="T26" fmla="*/ 140 w 1824"/>
                <a:gd name="T27" fmla="*/ 532 h 1828"/>
                <a:gd name="T28" fmla="*/ 953 w 1824"/>
                <a:gd name="T29" fmla="*/ 436 h 1828"/>
                <a:gd name="T30" fmla="*/ 1071 w 1824"/>
                <a:gd name="T31" fmla="*/ 363 h 1828"/>
                <a:gd name="T32" fmla="*/ 1071 w 1824"/>
                <a:gd name="T33" fmla="*/ 363 h 1828"/>
                <a:gd name="T34" fmla="*/ 1388 w 1824"/>
                <a:gd name="T35" fmla="*/ 554 h 1828"/>
                <a:gd name="T36" fmla="*/ 1706 w 1824"/>
                <a:gd name="T37" fmla="*/ 554 h 1828"/>
                <a:gd name="T38" fmla="*/ 1706 w 1824"/>
                <a:gd name="T39" fmla="*/ 554 h 1828"/>
                <a:gd name="T40" fmla="*/ 1780 w 1824"/>
                <a:gd name="T41" fmla="*/ 436 h 1828"/>
                <a:gd name="T42" fmla="*/ 118 w 1824"/>
                <a:gd name="T43" fmla="*/ 637 h 1828"/>
                <a:gd name="T44" fmla="*/ 44 w 1824"/>
                <a:gd name="T45" fmla="*/ 755 h 1828"/>
                <a:gd name="T46" fmla="*/ 1071 w 1824"/>
                <a:gd name="T47" fmla="*/ 872 h 1828"/>
                <a:gd name="T48" fmla="*/ 1071 w 1824"/>
                <a:gd name="T49" fmla="*/ 872 h 1828"/>
                <a:gd name="T50" fmla="*/ 1144 w 1824"/>
                <a:gd name="T51" fmla="*/ 755 h 1828"/>
                <a:gd name="T52" fmla="*/ 1388 w 1824"/>
                <a:gd name="T53" fmla="*/ 637 h 1828"/>
                <a:gd name="T54" fmla="*/ 1315 w 1824"/>
                <a:gd name="T55" fmla="*/ 755 h 1828"/>
                <a:gd name="T56" fmla="*/ 1706 w 1824"/>
                <a:gd name="T57" fmla="*/ 637 h 1828"/>
                <a:gd name="T58" fmla="*/ 1728 w 1824"/>
                <a:gd name="T59" fmla="*/ 850 h 1828"/>
                <a:gd name="T60" fmla="*/ 96 w 1824"/>
                <a:gd name="T61" fmla="*/ 978 h 1828"/>
                <a:gd name="T62" fmla="*/ 140 w 1824"/>
                <a:gd name="T63" fmla="*/ 978 h 1828"/>
                <a:gd name="T64" fmla="*/ 436 w 1824"/>
                <a:gd name="T65" fmla="*/ 956 h 1828"/>
                <a:gd name="T66" fmla="*/ 362 w 1824"/>
                <a:gd name="T67" fmla="*/ 1073 h 1828"/>
                <a:gd name="T68" fmla="*/ 753 w 1824"/>
                <a:gd name="T69" fmla="*/ 956 h 1828"/>
                <a:gd name="T70" fmla="*/ 775 w 1824"/>
                <a:gd name="T71" fmla="*/ 1169 h 1828"/>
                <a:gd name="T72" fmla="*/ 1049 w 1824"/>
                <a:gd name="T73" fmla="*/ 978 h 1828"/>
                <a:gd name="T74" fmla="*/ 1093 w 1824"/>
                <a:gd name="T75" fmla="*/ 978 h 1828"/>
                <a:gd name="T76" fmla="*/ 1388 w 1824"/>
                <a:gd name="T77" fmla="*/ 956 h 1828"/>
                <a:gd name="T78" fmla="*/ 1315 w 1824"/>
                <a:gd name="T79" fmla="*/ 1073 h 1828"/>
                <a:gd name="T80" fmla="*/ 1706 w 1824"/>
                <a:gd name="T81" fmla="*/ 956 h 1828"/>
                <a:gd name="T82" fmla="*/ 1728 w 1824"/>
                <a:gd name="T83" fmla="*/ 1169 h 1828"/>
                <a:gd name="T84" fmla="*/ 0 w 1824"/>
                <a:gd name="T85" fmla="*/ 1392 h 1828"/>
                <a:gd name="T86" fmla="*/ 118 w 1824"/>
                <a:gd name="T87" fmla="*/ 1318 h 1828"/>
                <a:gd name="T88" fmla="*/ 118 w 1824"/>
                <a:gd name="T89" fmla="*/ 1318 h 1828"/>
                <a:gd name="T90" fmla="*/ 436 w 1824"/>
                <a:gd name="T91" fmla="*/ 1509 h 1828"/>
                <a:gd name="T92" fmla="*/ 753 w 1824"/>
                <a:gd name="T93" fmla="*/ 1509 h 1828"/>
                <a:gd name="T94" fmla="*/ 753 w 1824"/>
                <a:gd name="T95" fmla="*/ 1509 h 1828"/>
                <a:gd name="T96" fmla="*/ 827 w 1824"/>
                <a:gd name="T97" fmla="*/ 1392 h 1828"/>
                <a:gd name="T98" fmla="*/ 1706 w 1824"/>
                <a:gd name="T99" fmla="*/ 1274 h 1828"/>
                <a:gd name="T100" fmla="*/ 1632 w 1824"/>
                <a:gd name="T101" fmla="*/ 1392 h 1828"/>
                <a:gd name="T102" fmla="*/ 118 w 1824"/>
                <a:gd name="T103" fmla="*/ 1828 h 1828"/>
                <a:gd name="T104" fmla="*/ 118 w 1824"/>
                <a:gd name="T105" fmla="*/ 1828 h 1828"/>
                <a:gd name="T106" fmla="*/ 192 w 1824"/>
                <a:gd name="T107" fmla="*/ 1710 h 1828"/>
                <a:gd name="T108" fmla="*/ 414 w 1824"/>
                <a:gd name="T109" fmla="*/ 1806 h 1828"/>
                <a:gd name="T110" fmla="*/ 436 w 1824"/>
                <a:gd name="T111" fmla="*/ 1593 h 1828"/>
                <a:gd name="T112" fmla="*/ 871 w 1824"/>
                <a:gd name="T113" fmla="*/ 1710 h 1828"/>
                <a:gd name="T114" fmla="*/ 753 w 1824"/>
                <a:gd name="T115" fmla="*/ 1784 h 1828"/>
                <a:gd name="T116" fmla="*/ 1588 w 1824"/>
                <a:gd name="T117" fmla="*/ 1710 h 1828"/>
                <a:gd name="T118" fmla="*/ 1706 w 1824"/>
                <a:gd name="T119" fmla="*/ 1637 h 1828"/>
                <a:gd name="T120" fmla="*/ 1706 w 1824"/>
                <a:gd name="T121" fmla="*/ 1637 h 18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824" h="1828">
                  <a:moveTo>
                    <a:pt x="118" y="235"/>
                  </a:moveTo>
                  <a:cubicBezTo>
                    <a:pt x="53" y="235"/>
                    <a:pt x="0" y="183"/>
                    <a:pt x="0" y="118"/>
                  </a:cubicBezTo>
                  <a:cubicBezTo>
                    <a:pt x="0" y="53"/>
                    <a:pt x="53" y="0"/>
                    <a:pt x="118" y="0"/>
                  </a:cubicBezTo>
                  <a:cubicBezTo>
                    <a:pt x="183" y="0"/>
                    <a:pt x="236" y="53"/>
                    <a:pt x="236" y="118"/>
                  </a:cubicBezTo>
                  <a:cubicBezTo>
                    <a:pt x="236" y="183"/>
                    <a:pt x="183" y="235"/>
                    <a:pt x="118" y="235"/>
                  </a:cubicBezTo>
                  <a:close/>
                  <a:moveTo>
                    <a:pt x="118" y="44"/>
                  </a:moveTo>
                  <a:cubicBezTo>
                    <a:pt x="77" y="44"/>
                    <a:pt x="44" y="77"/>
                    <a:pt x="44" y="118"/>
                  </a:cubicBezTo>
                  <a:cubicBezTo>
                    <a:pt x="44" y="158"/>
                    <a:pt x="77" y="191"/>
                    <a:pt x="118" y="191"/>
                  </a:cubicBezTo>
                  <a:cubicBezTo>
                    <a:pt x="159" y="191"/>
                    <a:pt x="192" y="158"/>
                    <a:pt x="192" y="118"/>
                  </a:cubicBezTo>
                  <a:cubicBezTo>
                    <a:pt x="192" y="77"/>
                    <a:pt x="159" y="44"/>
                    <a:pt x="118" y="44"/>
                  </a:cubicBezTo>
                  <a:close/>
                  <a:moveTo>
                    <a:pt x="436" y="0"/>
                  </a:moveTo>
                  <a:cubicBezTo>
                    <a:pt x="424" y="0"/>
                    <a:pt x="414" y="10"/>
                    <a:pt x="414" y="22"/>
                  </a:cubicBezTo>
                  <a:cubicBezTo>
                    <a:pt x="414" y="213"/>
                    <a:pt x="414" y="213"/>
                    <a:pt x="414" y="213"/>
                  </a:cubicBezTo>
                  <a:cubicBezTo>
                    <a:pt x="414" y="225"/>
                    <a:pt x="424" y="235"/>
                    <a:pt x="436" y="235"/>
                  </a:cubicBezTo>
                  <a:cubicBezTo>
                    <a:pt x="448" y="235"/>
                    <a:pt x="458" y="225"/>
                    <a:pt x="458" y="213"/>
                  </a:cubicBezTo>
                  <a:cubicBezTo>
                    <a:pt x="458" y="22"/>
                    <a:pt x="458" y="22"/>
                    <a:pt x="458" y="22"/>
                  </a:cubicBezTo>
                  <a:cubicBezTo>
                    <a:pt x="458" y="10"/>
                    <a:pt x="448" y="0"/>
                    <a:pt x="436" y="0"/>
                  </a:cubicBezTo>
                  <a:close/>
                  <a:moveTo>
                    <a:pt x="753" y="235"/>
                  </a:moveTo>
                  <a:cubicBezTo>
                    <a:pt x="688" y="235"/>
                    <a:pt x="636" y="183"/>
                    <a:pt x="636" y="118"/>
                  </a:cubicBezTo>
                  <a:cubicBezTo>
                    <a:pt x="636" y="53"/>
                    <a:pt x="688" y="0"/>
                    <a:pt x="753" y="0"/>
                  </a:cubicBezTo>
                  <a:cubicBezTo>
                    <a:pt x="818" y="0"/>
                    <a:pt x="871" y="53"/>
                    <a:pt x="871" y="118"/>
                  </a:cubicBezTo>
                  <a:cubicBezTo>
                    <a:pt x="871" y="183"/>
                    <a:pt x="818" y="235"/>
                    <a:pt x="753" y="235"/>
                  </a:cubicBezTo>
                  <a:close/>
                  <a:moveTo>
                    <a:pt x="753" y="44"/>
                  </a:moveTo>
                  <a:cubicBezTo>
                    <a:pt x="713" y="44"/>
                    <a:pt x="680" y="77"/>
                    <a:pt x="680" y="118"/>
                  </a:cubicBezTo>
                  <a:cubicBezTo>
                    <a:pt x="680" y="158"/>
                    <a:pt x="713" y="191"/>
                    <a:pt x="753" y="191"/>
                  </a:cubicBezTo>
                  <a:cubicBezTo>
                    <a:pt x="794" y="191"/>
                    <a:pt x="827" y="158"/>
                    <a:pt x="827" y="118"/>
                  </a:cubicBezTo>
                  <a:cubicBezTo>
                    <a:pt x="827" y="77"/>
                    <a:pt x="794" y="44"/>
                    <a:pt x="753" y="44"/>
                  </a:cubicBezTo>
                  <a:close/>
                  <a:moveTo>
                    <a:pt x="1071" y="0"/>
                  </a:moveTo>
                  <a:cubicBezTo>
                    <a:pt x="1059" y="0"/>
                    <a:pt x="1049" y="10"/>
                    <a:pt x="1049" y="22"/>
                  </a:cubicBezTo>
                  <a:cubicBezTo>
                    <a:pt x="1049" y="213"/>
                    <a:pt x="1049" y="213"/>
                    <a:pt x="1049" y="213"/>
                  </a:cubicBezTo>
                  <a:cubicBezTo>
                    <a:pt x="1049" y="225"/>
                    <a:pt x="1059" y="235"/>
                    <a:pt x="1071" y="235"/>
                  </a:cubicBezTo>
                  <a:cubicBezTo>
                    <a:pt x="1083" y="235"/>
                    <a:pt x="1093" y="225"/>
                    <a:pt x="1093" y="213"/>
                  </a:cubicBezTo>
                  <a:cubicBezTo>
                    <a:pt x="1093" y="22"/>
                    <a:pt x="1093" y="22"/>
                    <a:pt x="1093" y="22"/>
                  </a:cubicBezTo>
                  <a:cubicBezTo>
                    <a:pt x="1093" y="10"/>
                    <a:pt x="1083" y="0"/>
                    <a:pt x="1071" y="0"/>
                  </a:cubicBezTo>
                  <a:close/>
                  <a:moveTo>
                    <a:pt x="1388" y="0"/>
                  </a:moveTo>
                  <a:cubicBezTo>
                    <a:pt x="1376" y="0"/>
                    <a:pt x="1366" y="10"/>
                    <a:pt x="1366" y="22"/>
                  </a:cubicBezTo>
                  <a:cubicBezTo>
                    <a:pt x="1366" y="213"/>
                    <a:pt x="1366" y="213"/>
                    <a:pt x="1366" y="213"/>
                  </a:cubicBezTo>
                  <a:cubicBezTo>
                    <a:pt x="1366" y="225"/>
                    <a:pt x="1376" y="235"/>
                    <a:pt x="1388" y="235"/>
                  </a:cubicBezTo>
                  <a:cubicBezTo>
                    <a:pt x="1400" y="235"/>
                    <a:pt x="1410" y="225"/>
                    <a:pt x="1410" y="213"/>
                  </a:cubicBezTo>
                  <a:cubicBezTo>
                    <a:pt x="1410" y="22"/>
                    <a:pt x="1410" y="22"/>
                    <a:pt x="1410" y="22"/>
                  </a:cubicBezTo>
                  <a:cubicBezTo>
                    <a:pt x="1410" y="10"/>
                    <a:pt x="1400" y="0"/>
                    <a:pt x="1388" y="0"/>
                  </a:cubicBezTo>
                  <a:close/>
                  <a:moveTo>
                    <a:pt x="1706" y="235"/>
                  </a:moveTo>
                  <a:cubicBezTo>
                    <a:pt x="1641" y="235"/>
                    <a:pt x="1588" y="183"/>
                    <a:pt x="1588" y="118"/>
                  </a:cubicBezTo>
                  <a:cubicBezTo>
                    <a:pt x="1588" y="53"/>
                    <a:pt x="1641" y="0"/>
                    <a:pt x="1706" y="0"/>
                  </a:cubicBezTo>
                  <a:cubicBezTo>
                    <a:pt x="1771" y="0"/>
                    <a:pt x="1824" y="53"/>
                    <a:pt x="1824" y="118"/>
                  </a:cubicBezTo>
                  <a:cubicBezTo>
                    <a:pt x="1824" y="183"/>
                    <a:pt x="1771" y="235"/>
                    <a:pt x="1706" y="235"/>
                  </a:cubicBezTo>
                  <a:close/>
                  <a:moveTo>
                    <a:pt x="1706" y="44"/>
                  </a:moveTo>
                  <a:cubicBezTo>
                    <a:pt x="1665" y="44"/>
                    <a:pt x="1632" y="77"/>
                    <a:pt x="1632" y="118"/>
                  </a:cubicBezTo>
                  <a:cubicBezTo>
                    <a:pt x="1632" y="158"/>
                    <a:pt x="1665" y="191"/>
                    <a:pt x="1706" y="191"/>
                  </a:cubicBezTo>
                  <a:cubicBezTo>
                    <a:pt x="1747" y="191"/>
                    <a:pt x="1780" y="158"/>
                    <a:pt x="1780" y="118"/>
                  </a:cubicBezTo>
                  <a:cubicBezTo>
                    <a:pt x="1780" y="77"/>
                    <a:pt x="1747" y="44"/>
                    <a:pt x="1706" y="44"/>
                  </a:cubicBezTo>
                  <a:close/>
                  <a:moveTo>
                    <a:pt x="118" y="319"/>
                  </a:moveTo>
                  <a:cubicBezTo>
                    <a:pt x="106" y="319"/>
                    <a:pt x="96" y="328"/>
                    <a:pt x="96" y="341"/>
                  </a:cubicBezTo>
                  <a:cubicBezTo>
                    <a:pt x="96" y="532"/>
                    <a:pt x="96" y="532"/>
                    <a:pt x="96" y="532"/>
                  </a:cubicBezTo>
                  <a:cubicBezTo>
                    <a:pt x="96" y="544"/>
                    <a:pt x="106" y="554"/>
                    <a:pt x="118" y="554"/>
                  </a:cubicBezTo>
                  <a:cubicBezTo>
                    <a:pt x="130" y="554"/>
                    <a:pt x="140" y="544"/>
                    <a:pt x="140" y="532"/>
                  </a:cubicBezTo>
                  <a:cubicBezTo>
                    <a:pt x="140" y="341"/>
                    <a:pt x="140" y="341"/>
                    <a:pt x="140" y="341"/>
                  </a:cubicBezTo>
                  <a:cubicBezTo>
                    <a:pt x="140" y="328"/>
                    <a:pt x="130" y="319"/>
                    <a:pt x="118" y="319"/>
                  </a:cubicBezTo>
                  <a:close/>
                  <a:moveTo>
                    <a:pt x="1071" y="554"/>
                  </a:moveTo>
                  <a:cubicBezTo>
                    <a:pt x="1006" y="554"/>
                    <a:pt x="953" y="501"/>
                    <a:pt x="953" y="436"/>
                  </a:cubicBezTo>
                  <a:cubicBezTo>
                    <a:pt x="953" y="371"/>
                    <a:pt x="1006" y="319"/>
                    <a:pt x="1071" y="319"/>
                  </a:cubicBezTo>
                  <a:cubicBezTo>
                    <a:pt x="1136" y="319"/>
                    <a:pt x="1188" y="371"/>
                    <a:pt x="1188" y="436"/>
                  </a:cubicBezTo>
                  <a:cubicBezTo>
                    <a:pt x="1188" y="501"/>
                    <a:pt x="1136" y="554"/>
                    <a:pt x="1071" y="554"/>
                  </a:cubicBezTo>
                  <a:close/>
                  <a:moveTo>
                    <a:pt x="1071" y="363"/>
                  </a:moveTo>
                  <a:cubicBezTo>
                    <a:pt x="1030" y="363"/>
                    <a:pt x="997" y="396"/>
                    <a:pt x="997" y="436"/>
                  </a:cubicBezTo>
                  <a:cubicBezTo>
                    <a:pt x="997" y="477"/>
                    <a:pt x="1030" y="510"/>
                    <a:pt x="1071" y="510"/>
                  </a:cubicBezTo>
                  <a:cubicBezTo>
                    <a:pt x="1111" y="510"/>
                    <a:pt x="1144" y="477"/>
                    <a:pt x="1144" y="436"/>
                  </a:cubicBezTo>
                  <a:cubicBezTo>
                    <a:pt x="1144" y="396"/>
                    <a:pt x="1111" y="363"/>
                    <a:pt x="1071" y="363"/>
                  </a:cubicBezTo>
                  <a:close/>
                  <a:moveTo>
                    <a:pt x="1388" y="319"/>
                  </a:moveTo>
                  <a:cubicBezTo>
                    <a:pt x="1376" y="319"/>
                    <a:pt x="1366" y="328"/>
                    <a:pt x="1366" y="341"/>
                  </a:cubicBezTo>
                  <a:cubicBezTo>
                    <a:pt x="1366" y="532"/>
                    <a:pt x="1366" y="532"/>
                    <a:pt x="1366" y="532"/>
                  </a:cubicBezTo>
                  <a:cubicBezTo>
                    <a:pt x="1366" y="544"/>
                    <a:pt x="1376" y="554"/>
                    <a:pt x="1388" y="554"/>
                  </a:cubicBezTo>
                  <a:cubicBezTo>
                    <a:pt x="1400" y="554"/>
                    <a:pt x="1410" y="544"/>
                    <a:pt x="1410" y="532"/>
                  </a:cubicBezTo>
                  <a:cubicBezTo>
                    <a:pt x="1410" y="341"/>
                    <a:pt x="1410" y="341"/>
                    <a:pt x="1410" y="341"/>
                  </a:cubicBezTo>
                  <a:cubicBezTo>
                    <a:pt x="1410" y="328"/>
                    <a:pt x="1400" y="319"/>
                    <a:pt x="1388" y="319"/>
                  </a:cubicBezTo>
                  <a:close/>
                  <a:moveTo>
                    <a:pt x="1706" y="554"/>
                  </a:moveTo>
                  <a:cubicBezTo>
                    <a:pt x="1641" y="554"/>
                    <a:pt x="1588" y="501"/>
                    <a:pt x="1588" y="436"/>
                  </a:cubicBezTo>
                  <a:cubicBezTo>
                    <a:pt x="1588" y="371"/>
                    <a:pt x="1641" y="319"/>
                    <a:pt x="1706" y="319"/>
                  </a:cubicBezTo>
                  <a:cubicBezTo>
                    <a:pt x="1771" y="319"/>
                    <a:pt x="1824" y="371"/>
                    <a:pt x="1824" y="436"/>
                  </a:cubicBezTo>
                  <a:cubicBezTo>
                    <a:pt x="1824" y="501"/>
                    <a:pt x="1771" y="554"/>
                    <a:pt x="1706" y="554"/>
                  </a:cubicBezTo>
                  <a:close/>
                  <a:moveTo>
                    <a:pt x="1706" y="363"/>
                  </a:moveTo>
                  <a:cubicBezTo>
                    <a:pt x="1665" y="363"/>
                    <a:pt x="1632" y="396"/>
                    <a:pt x="1632" y="436"/>
                  </a:cubicBezTo>
                  <a:cubicBezTo>
                    <a:pt x="1632" y="477"/>
                    <a:pt x="1665" y="510"/>
                    <a:pt x="1706" y="510"/>
                  </a:cubicBezTo>
                  <a:cubicBezTo>
                    <a:pt x="1747" y="510"/>
                    <a:pt x="1780" y="477"/>
                    <a:pt x="1780" y="436"/>
                  </a:cubicBezTo>
                  <a:cubicBezTo>
                    <a:pt x="1780" y="396"/>
                    <a:pt x="1747" y="363"/>
                    <a:pt x="1706" y="363"/>
                  </a:cubicBezTo>
                  <a:close/>
                  <a:moveTo>
                    <a:pt x="118" y="872"/>
                  </a:moveTo>
                  <a:cubicBezTo>
                    <a:pt x="53" y="872"/>
                    <a:pt x="0" y="820"/>
                    <a:pt x="0" y="755"/>
                  </a:cubicBezTo>
                  <a:cubicBezTo>
                    <a:pt x="0" y="690"/>
                    <a:pt x="53" y="637"/>
                    <a:pt x="118" y="637"/>
                  </a:cubicBezTo>
                  <a:cubicBezTo>
                    <a:pt x="183" y="637"/>
                    <a:pt x="236" y="690"/>
                    <a:pt x="236" y="755"/>
                  </a:cubicBezTo>
                  <a:cubicBezTo>
                    <a:pt x="236" y="820"/>
                    <a:pt x="183" y="872"/>
                    <a:pt x="118" y="872"/>
                  </a:cubicBezTo>
                  <a:close/>
                  <a:moveTo>
                    <a:pt x="118" y="681"/>
                  </a:moveTo>
                  <a:cubicBezTo>
                    <a:pt x="77" y="681"/>
                    <a:pt x="44" y="714"/>
                    <a:pt x="44" y="755"/>
                  </a:cubicBezTo>
                  <a:cubicBezTo>
                    <a:pt x="44" y="795"/>
                    <a:pt x="77" y="828"/>
                    <a:pt x="118" y="828"/>
                  </a:cubicBezTo>
                  <a:cubicBezTo>
                    <a:pt x="159" y="828"/>
                    <a:pt x="192" y="795"/>
                    <a:pt x="192" y="755"/>
                  </a:cubicBezTo>
                  <a:cubicBezTo>
                    <a:pt x="192" y="714"/>
                    <a:pt x="159" y="681"/>
                    <a:pt x="118" y="681"/>
                  </a:cubicBezTo>
                  <a:close/>
                  <a:moveTo>
                    <a:pt x="1071" y="872"/>
                  </a:moveTo>
                  <a:cubicBezTo>
                    <a:pt x="1006" y="872"/>
                    <a:pt x="953" y="820"/>
                    <a:pt x="953" y="755"/>
                  </a:cubicBezTo>
                  <a:cubicBezTo>
                    <a:pt x="953" y="690"/>
                    <a:pt x="1006" y="637"/>
                    <a:pt x="1071" y="637"/>
                  </a:cubicBezTo>
                  <a:cubicBezTo>
                    <a:pt x="1136" y="637"/>
                    <a:pt x="1188" y="690"/>
                    <a:pt x="1188" y="755"/>
                  </a:cubicBezTo>
                  <a:cubicBezTo>
                    <a:pt x="1188" y="820"/>
                    <a:pt x="1136" y="872"/>
                    <a:pt x="1071" y="872"/>
                  </a:cubicBezTo>
                  <a:close/>
                  <a:moveTo>
                    <a:pt x="1071" y="681"/>
                  </a:moveTo>
                  <a:cubicBezTo>
                    <a:pt x="1030" y="681"/>
                    <a:pt x="997" y="714"/>
                    <a:pt x="997" y="755"/>
                  </a:cubicBezTo>
                  <a:cubicBezTo>
                    <a:pt x="997" y="795"/>
                    <a:pt x="1030" y="828"/>
                    <a:pt x="1071" y="828"/>
                  </a:cubicBezTo>
                  <a:cubicBezTo>
                    <a:pt x="1111" y="828"/>
                    <a:pt x="1144" y="795"/>
                    <a:pt x="1144" y="755"/>
                  </a:cubicBezTo>
                  <a:cubicBezTo>
                    <a:pt x="1144" y="714"/>
                    <a:pt x="1111" y="681"/>
                    <a:pt x="1071" y="681"/>
                  </a:cubicBezTo>
                  <a:close/>
                  <a:moveTo>
                    <a:pt x="1388" y="872"/>
                  </a:moveTo>
                  <a:cubicBezTo>
                    <a:pt x="1323" y="872"/>
                    <a:pt x="1271" y="820"/>
                    <a:pt x="1271" y="755"/>
                  </a:cubicBezTo>
                  <a:cubicBezTo>
                    <a:pt x="1271" y="690"/>
                    <a:pt x="1323" y="637"/>
                    <a:pt x="1388" y="637"/>
                  </a:cubicBezTo>
                  <a:cubicBezTo>
                    <a:pt x="1453" y="637"/>
                    <a:pt x="1506" y="690"/>
                    <a:pt x="1506" y="755"/>
                  </a:cubicBezTo>
                  <a:cubicBezTo>
                    <a:pt x="1506" y="820"/>
                    <a:pt x="1453" y="872"/>
                    <a:pt x="1388" y="872"/>
                  </a:cubicBezTo>
                  <a:close/>
                  <a:moveTo>
                    <a:pt x="1388" y="681"/>
                  </a:moveTo>
                  <a:cubicBezTo>
                    <a:pt x="1348" y="681"/>
                    <a:pt x="1315" y="714"/>
                    <a:pt x="1315" y="755"/>
                  </a:cubicBezTo>
                  <a:cubicBezTo>
                    <a:pt x="1315" y="795"/>
                    <a:pt x="1348" y="828"/>
                    <a:pt x="1388" y="828"/>
                  </a:cubicBezTo>
                  <a:cubicBezTo>
                    <a:pt x="1429" y="828"/>
                    <a:pt x="1462" y="795"/>
                    <a:pt x="1462" y="755"/>
                  </a:cubicBezTo>
                  <a:cubicBezTo>
                    <a:pt x="1462" y="714"/>
                    <a:pt x="1429" y="681"/>
                    <a:pt x="1388" y="681"/>
                  </a:cubicBezTo>
                  <a:close/>
                  <a:moveTo>
                    <a:pt x="1706" y="637"/>
                  </a:moveTo>
                  <a:cubicBezTo>
                    <a:pt x="1694" y="637"/>
                    <a:pt x="1684" y="647"/>
                    <a:pt x="1684" y="659"/>
                  </a:cubicBezTo>
                  <a:cubicBezTo>
                    <a:pt x="1684" y="850"/>
                    <a:pt x="1684" y="850"/>
                    <a:pt x="1684" y="850"/>
                  </a:cubicBezTo>
                  <a:cubicBezTo>
                    <a:pt x="1684" y="863"/>
                    <a:pt x="1694" y="872"/>
                    <a:pt x="1706" y="872"/>
                  </a:cubicBezTo>
                  <a:cubicBezTo>
                    <a:pt x="1718" y="872"/>
                    <a:pt x="1728" y="863"/>
                    <a:pt x="1728" y="850"/>
                  </a:cubicBezTo>
                  <a:cubicBezTo>
                    <a:pt x="1728" y="659"/>
                    <a:pt x="1728" y="659"/>
                    <a:pt x="1728" y="659"/>
                  </a:cubicBezTo>
                  <a:cubicBezTo>
                    <a:pt x="1728" y="647"/>
                    <a:pt x="1718" y="637"/>
                    <a:pt x="1706" y="637"/>
                  </a:cubicBezTo>
                  <a:close/>
                  <a:moveTo>
                    <a:pt x="118" y="956"/>
                  </a:moveTo>
                  <a:cubicBezTo>
                    <a:pt x="106" y="956"/>
                    <a:pt x="96" y="965"/>
                    <a:pt x="96" y="978"/>
                  </a:cubicBezTo>
                  <a:cubicBezTo>
                    <a:pt x="96" y="1169"/>
                    <a:pt x="96" y="1169"/>
                    <a:pt x="96" y="1169"/>
                  </a:cubicBezTo>
                  <a:cubicBezTo>
                    <a:pt x="96" y="1181"/>
                    <a:pt x="106" y="1191"/>
                    <a:pt x="118" y="1191"/>
                  </a:cubicBezTo>
                  <a:cubicBezTo>
                    <a:pt x="130" y="1191"/>
                    <a:pt x="140" y="1181"/>
                    <a:pt x="140" y="1169"/>
                  </a:cubicBezTo>
                  <a:cubicBezTo>
                    <a:pt x="140" y="978"/>
                    <a:pt x="140" y="978"/>
                    <a:pt x="140" y="978"/>
                  </a:cubicBezTo>
                  <a:cubicBezTo>
                    <a:pt x="140" y="965"/>
                    <a:pt x="130" y="956"/>
                    <a:pt x="118" y="956"/>
                  </a:cubicBezTo>
                  <a:close/>
                  <a:moveTo>
                    <a:pt x="436" y="1191"/>
                  </a:moveTo>
                  <a:cubicBezTo>
                    <a:pt x="371" y="1191"/>
                    <a:pt x="318" y="1138"/>
                    <a:pt x="318" y="1073"/>
                  </a:cubicBezTo>
                  <a:cubicBezTo>
                    <a:pt x="318" y="1008"/>
                    <a:pt x="371" y="956"/>
                    <a:pt x="436" y="956"/>
                  </a:cubicBezTo>
                  <a:cubicBezTo>
                    <a:pt x="501" y="956"/>
                    <a:pt x="553" y="1008"/>
                    <a:pt x="553" y="1073"/>
                  </a:cubicBezTo>
                  <a:cubicBezTo>
                    <a:pt x="553" y="1138"/>
                    <a:pt x="501" y="1191"/>
                    <a:pt x="436" y="1191"/>
                  </a:cubicBezTo>
                  <a:close/>
                  <a:moveTo>
                    <a:pt x="436" y="1000"/>
                  </a:moveTo>
                  <a:cubicBezTo>
                    <a:pt x="395" y="1000"/>
                    <a:pt x="362" y="1033"/>
                    <a:pt x="362" y="1073"/>
                  </a:cubicBezTo>
                  <a:cubicBezTo>
                    <a:pt x="362" y="1114"/>
                    <a:pt x="395" y="1147"/>
                    <a:pt x="436" y="1147"/>
                  </a:cubicBezTo>
                  <a:cubicBezTo>
                    <a:pt x="476" y="1147"/>
                    <a:pt x="509" y="1114"/>
                    <a:pt x="509" y="1073"/>
                  </a:cubicBezTo>
                  <a:cubicBezTo>
                    <a:pt x="509" y="1033"/>
                    <a:pt x="476" y="1000"/>
                    <a:pt x="436" y="1000"/>
                  </a:cubicBezTo>
                  <a:close/>
                  <a:moveTo>
                    <a:pt x="753" y="956"/>
                  </a:moveTo>
                  <a:cubicBezTo>
                    <a:pt x="741" y="956"/>
                    <a:pt x="731" y="965"/>
                    <a:pt x="731" y="978"/>
                  </a:cubicBezTo>
                  <a:cubicBezTo>
                    <a:pt x="731" y="1169"/>
                    <a:pt x="731" y="1169"/>
                    <a:pt x="731" y="1169"/>
                  </a:cubicBezTo>
                  <a:cubicBezTo>
                    <a:pt x="731" y="1181"/>
                    <a:pt x="741" y="1191"/>
                    <a:pt x="753" y="1191"/>
                  </a:cubicBezTo>
                  <a:cubicBezTo>
                    <a:pt x="765" y="1191"/>
                    <a:pt x="775" y="1181"/>
                    <a:pt x="775" y="1169"/>
                  </a:cubicBezTo>
                  <a:cubicBezTo>
                    <a:pt x="775" y="978"/>
                    <a:pt x="775" y="978"/>
                    <a:pt x="775" y="978"/>
                  </a:cubicBezTo>
                  <a:cubicBezTo>
                    <a:pt x="775" y="965"/>
                    <a:pt x="765" y="956"/>
                    <a:pt x="753" y="956"/>
                  </a:cubicBezTo>
                  <a:close/>
                  <a:moveTo>
                    <a:pt x="1071" y="956"/>
                  </a:moveTo>
                  <a:cubicBezTo>
                    <a:pt x="1059" y="956"/>
                    <a:pt x="1049" y="965"/>
                    <a:pt x="1049" y="978"/>
                  </a:cubicBezTo>
                  <a:cubicBezTo>
                    <a:pt x="1049" y="1169"/>
                    <a:pt x="1049" y="1169"/>
                    <a:pt x="1049" y="1169"/>
                  </a:cubicBezTo>
                  <a:cubicBezTo>
                    <a:pt x="1049" y="1181"/>
                    <a:pt x="1059" y="1191"/>
                    <a:pt x="1071" y="1191"/>
                  </a:cubicBezTo>
                  <a:cubicBezTo>
                    <a:pt x="1083" y="1191"/>
                    <a:pt x="1093" y="1181"/>
                    <a:pt x="1093" y="1169"/>
                  </a:cubicBezTo>
                  <a:cubicBezTo>
                    <a:pt x="1093" y="978"/>
                    <a:pt x="1093" y="978"/>
                    <a:pt x="1093" y="978"/>
                  </a:cubicBezTo>
                  <a:cubicBezTo>
                    <a:pt x="1093" y="965"/>
                    <a:pt x="1083" y="956"/>
                    <a:pt x="1071" y="956"/>
                  </a:cubicBezTo>
                  <a:close/>
                  <a:moveTo>
                    <a:pt x="1388" y="1191"/>
                  </a:moveTo>
                  <a:cubicBezTo>
                    <a:pt x="1323" y="1191"/>
                    <a:pt x="1271" y="1138"/>
                    <a:pt x="1271" y="1073"/>
                  </a:cubicBezTo>
                  <a:cubicBezTo>
                    <a:pt x="1271" y="1008"/>
                    <a:pt x="1323" y="956"/>
                    <a:pt x="1388" y="956"/>
                  </a:cubicBezTo>
                  <a:cubicBezTo>
                    <a:pt x="1453" y="956"/>
                    <a:pt x="1506" y="1008"/>
                    <a:pt x="1506" y="1073"/>
                  </a:cubicBezTo>
                  <a:cubicBezTo>
                    <a:pt x="1506" y="1138"/>
                    <a:pt x="1453" y="1191"/>
                    <a:pt x="1388" y="1191"/>
                  </a:cubicBezTo>
                  <a:close/>
                  <a:moveTo>
                    <a:pt x="1388" y="1000"/>
                  </a:moveTo>
                  <a:cubicBezTo>
                    <a:pt x="1348" y="1000"/>
                    <a:pt x="1315" y="1033"/>
                    <a:pt x="1315" y="1073"/>
                  </a:cubicBezTo>
                  <a:cubicBezTo>
                    <a:pt x="1315" y="1114"/>
                    <a:pt x="1348" y="1147"/>
                    <a:pt x="1388" y="1147"/>
                  </a:cubicBezTo>
                  <a:cubicBezTo>
                    <a:pt x="1429" y="1147"/>
                    <a:pt x="1462" y="1114"/>
                    <a:pt x="1462" y="1073"/>
                  </a:cubicBezTo>
                  <a:cubicBezTo>
                    <a:pt x="1462" y="1033"/>
                    <a:pt x="1429" y="1000"/>
                    <a:pt x="1388" y="1000"/>
                  </a:cubicBezTo>
                  <a:close/>
                  <a:moveTo>
                    <a:pt x="1706" y="956"/>
                  </a:moveTo>
                  <a:cubicBezTo>
                    <a:pt x="1694" y="956"/>
                    <a:pt x="1684" y="965"/>
                    <a:pt x="1684" y="978"/>
                  </a:cubicBezTo>
                  <a:cubicBezTo>
                    <a:pt x="1684" y="1169"/>
                    <a:pt x="1684" y="1169"/>
                    <a:pt x="1684" y="1169"/>
                  </a:cubicBezTo>
                  <a:cubicBezTo>
                    <a:pt x="1684" y="1181"/>
                    <a:pt x="1694" y="1191"/>
                    <a:pt x="1706" y="1191"/>
                  </a:cubicBezTo>
                  <a:cubicBezTo>
                    <a:pt x="1718" y="1191"/>
                    <a:pt x="1728" y="1181"/>
                    <a:pt x="1728" y="1169"/>
                  </a:cubicBezTo>
                  <a:cubicBezTo>
                    <a:pt x="1728" y="978"/>
                    <a:pt x="1728" y="978"/>
                    <a:pt x="1728" y="978"/>
                  </a:cubicBezTo>
                  <a:cubicBezTo>
                    <a:pt x="1728" y="965"/>
                    <a:pt x="1718" y="956"/>
                    <a:pt x="1706" y="956"/>
                  </a:cubicBezTo>
                  <a:close/>
                  <a:moveTo>
                    <a:pt x="118" y="1509"/>
                  </a:moveTo>
                  <a:cubicBezTo>
                    <a:pt x="53" y="1509"/>
                    <a:pt x="0" y="1457"/>
                    <a:pt x="0" y="1392"/>
                  </a:cubicBezTo>
                  <a:cubicBezTo>
                    <a:pt x="0" y="1327"/>
                    <a:pt x="53" y="1274"/>
                    <a:pt x="118" y="1274"/>
                  </a:cubicBezTo>
                  <a:cubicBezTo>
                    <a:pt x="183" y="1274"/>
                    <a:pt x="236" y="1327"/>
                    <a:pt x="236" y="1392"/>
                  </a:cubicBezTo>
                  <a:cubicBezTo>
                    <a:pt x="236" y="1457"/>
                    <a:pt x="183" y="1509"/>
                    <a:pt x="118" y="1509"/>
                  </a:cubicBezTo>
                  <a:close/>
                  <a:moveTo>
                    <a:pt x="118" y="1318"/>
                  </a:moveTo>
                  <a:cubicBezTo>
                    <a:pt x="77" y="1318"/>
                    <a:pt x="44" y="1351"/>
                    <a:pt x="44" y="1392"/>
                  </a:cubicBezTo>
                  <a:cubicBezTo>
                    <a:pt x="44" y="1432"/>
                    <a:pt x="77" y="1465"/>
                    <a:pt x="118" y="1465"/>
                  </a:cubicBezTo>
                  <a:cubicBezTo>
                    <a:pt x="159" y="1465"/>
                    <a:pt x="192" y="1432"/>
                    <a:pt x="192" y="1392"/>
                  </a:cubicBezTo>
                  <a:cubicBezTo>
                    <a:pt x="192" y="1351"/>
                    <a:pt x="159" y="1318"/>
                    <a:pt x="118" y="1318"/>
                  </a:cubicBezTo>
                  <a:close/>
                  <a:moveTo>
                    <a:pt x="436" y="1274"/>
                  </a:moveTo>
                  <a:cubicBezTo>
                    <a:pt x="424" y="1274"/>
                    <a:pt x="414" y="1284"/>
                    <a:pt x="414" y="1296"/>
                  </a:cubicBezTo>
                  <a:cubicBezTo>
                    <a:pt x="414" y="1487"/>
                    <a:pt x="414" y="1487"/>
                    <a:pt x="414" y="1487"/>
                  </a:cubicBezTo>
                  <a:cubicBezTo>
                    <a:pt x="414" y="1500"/>
                    <a:pt x="424" y="1509"/>
                    <a:pt x="436" y="1509"/>
                  </a:cubicBezTo>
                  <a:cubicBezTo>
                    <a:pt x="448" y="1509"/>
                    <a:pt x="458" y="1500"/>
                    <a:pt x="458" y="1487"/>
                  </a:cubicBezTo>
                  <a:cubicBezTo>
                    <a:pt x="458" y="1296"/>
                    <a:pt x="458" y="1296"/>
                    <a:pt x="458" y="1296"/>
                  </a:cubicBezTo>
                  <a:cubicBezTo>
                    <a:pt x="458" y="1284"/>
                    <a:pt x="448" y="1274"/>
                    <a:pt x="436" y="1274"/>
                  </a:cubicBezTo>
                  <a:close/>
                  <a:moveTo>
                    <a:pt x="753" y="1509"/>
                  </a:moveTo>
                  <a:cubicBezTo>
                    <a:pt x="688" y="1509"/>
                    <a:pt x="636" y="1457"/>
                    <a:pt x="636" y="1392"/>
                  </a:cubicBezTo>
                  <a:cubicBezTo>
                    <a:pt x="636" y="1327"/>
                    <a:pt x="688" y="1274"/>
                    <a:pt x="753" y="1274"/>
                  </a:cubicBezTo>
                  <a:cubicBezTo>
                    <a:pt x="818" y="1274"/>
                    <a:pt x="871" y="1327"/>
                    <a:pt x="871" y="1392"/>
                  </a:cubicBezTo>
                  <a:cubicBezTo>
                    <a:pt x="871" y="1457"/>
                    <a:pt x="818" y="1509"/>
                    <a:pt x="753" y="1509"/>
                  </a:cubicBezTo>
                  <a:close/>
                  <a:moveTo>
                    <a:pt x="753" y="1318"/>
                  </a:moveTo>
                  <a:cubicBezTo>
                    <a:pt x="713" y="1318"/>
                    <a:pt x="680" y="1351"/>
                    <a:pt x="680" y="1392"/>
                  </a:cubicBezTo>
                  <a:cubicBezTo>
                    <a:pt x="680" y="1432"/>
                    <a:pt x="713" y="1465"/>
                    <a:pt x="753" y="1465"/>
                  </a:cubicBezTo>
                  <a:cubicBezTo>
                    <a:pt x="794" y="1465"/>
                    <a:pt x="827" y="1432"/>
                    <a:pt x="827" y="1392"/>
                  </a:cubicBezTo>
                  <a:cubicBezTo>
                    <a:pt x="827" y="1351"/>
                    <a:pt x="794" y="1318"/>
                    <a:pt x="753" y="1318"/>
                  </a:cubicBezTo>
                  <a:close/>
                  <a:moveTo>
                    <a:pt x="1706" y="1509"/>
                  </a:moveTo>
                  <a:cubicBezTo>
                    <a:pt x="1641" y="1509"/>
                    <a:pt x="1588" y="1457"/>
                    <a:pt x="1588" y="1392"/>
                  </a:cubicBezTo>
                  <a:cubicBezTo>
                    <a:pt x="1588" y="1327"/>
                    <a:pt x="1641" y="1274"/>
                    <a:pt x="1706" y="1274"/>
                  </a:cubicBezTo>
                  <a:cubicBezTo>
                    <a:pt x="1771" y="1274"/>
                    <a:pt x="1824" y="1327"/>
                    <a:pt x="1824" y="1392"/>
                  </a:cubicBezTo>
                  <a:cubicBezTo>
                    <a:pt x="1824" y="1457"/>
                    <a:pt x="1771" y="1509"/>
                    <a:pt x="1706" y="1509"/>
                  </a:cubicBezTo>
                  <a:close/>
                  <a:moveTo>
                    <a:pt x="1706" y="1318"/>
                  </a:moveTo>
                  <a:cubicBezTo>
                    <a:pt x="1665" y="1318"/>
                    <a:pt x="1632" y="1351"/>
                    <a:pt x="1632" y="1392"/>
                  </a:cubicBezTo>
                  <a:cubicBezTo>
                    <a:pt x="1632" y="1432"/>
                    <a:pt x="1665" y="1465"/>
                    <a:pt x="1706" y="1465"/>
                  </a:cubicBezTo>
                  <a:cubicBezTo>
                    <a:pt x="1747" y="1465"/>
                    <a:pt x="1780" y="1432"/>
                    <a:pt x="1780" y="1392"/>
                  </a:cubicBezTo>
                  <a:cubicBezTo>
                    <a:pt x="1780" y="1351"/>
                    <a:pt x="1747" y="1318"/>
                    <a:pt x="1706" y="1318"/>
                  </a:cubicBezTo>
                  <a:close/>
                  <a:moveTo>
                    <a:pt x="118" y="1828"/>
                  </a:moveTo>
                  <a:cubicBezTo>
                    <a:pt x="53" y="1828"/>
                    <a:pt x="0" y="1775"/>
                    <a:pt x="0" y="1710"/>
                  </a:cubicBezTo>
                  <a:cubicBezTo>
                    <a:pt x="0" y="1645"/>
                    <a:pt x="53" y="1593"/>
                    <a:pt x="118" y="1593"/>
                  </a:cubicBezTo>
                  <a:cubicBezTo>
                    <a:pt x="183" y="1593"/>
                    <a:pt x="236" y="1645"/>
                    <a:pt x="236" y="1710"/>
                  </a:cubicBezTo>
                  <a:cubicBezTo>
                    <a:pt x="236" y="1775"/>
                    <a:pt x="183" y="1828"/>
                    <a:pt x="118" y="1828"/>
                  </a:cubicBezTo>
                  <a:close/>
                  <a:moveTo>
                    <a:pt x="118" y="1637"/>
                  </a:moveTo>
                  <a:cubicBezTo>
                    <a:pt x="77" y="1637"/>
                    <a:pt x="44" y="1670"/>
                    <a:pt x="44" y="1710"/>
                  </a:cubicBezTo>
                  <a:cubicBezTo>
                    <a:pt x="44" y="1751"/>
                    <a:pt x="77" y="1784"/>
                    <a:pt x="118" y="1784"/>
                  </a:cubicBezTo>
                  <a:cubicBezTo>
                    <a:pt x="159" y="1784"/>
                    <a:pt x="192" y="1751"/>
                    <a:pt x="192" y="1710"/>
                  </a:cubicBezTo>
                  <a:cubicBezTo>
                    <a:pt x="192" y="1670"/>
                    <a:pt x="159" y="1637"/>
                    <a:pt x="118" y="1637"/>
                  </a:cubicBezTo>
                  <a:close/>
                  <a:moveTo>
                    <a:pt x="436" y="1593"/>
                  </a:moveTo>
                  <a:cubicBezTo>
                    <a:pt x="424" y="1593"/>
                    <a:pt x="414" y="1603"/>
                    <a:pt x="414" y="1615"/>
                  </a:cubicBezTo>
                  <a:cubicBezTo>
                    <a:pt x="414" y="1806"/>
                    <a:pt x="414" y="1806"/>
                    <a:pt x="414" y="1806"/>
                  </a:cubicBezTo>
                  <a:cubicBezTo>
                    <a:pt x="414" y="1818"/>
                    <a:pt x="424" y="1828"/>
                    <a:pt x="436" y="1828"/>
                  </a:cubicBezTo>
                  <a:cubicBezTo>
                    <a:pt x="448" y="1828"/>
                    <a:pt x="458" y="1818"/>
                    <a:pt x="458" y="1806"/>
                  </a:cubicBezTo>
                  <a:cubicBezTo>
                    <a:pt x="458" y="1615"/>
                    <a:pt x="458" y="1615"/>
                    <a:pt x="458" y="1615"/>
                  </a:cubicBezTo>
                  <a:cubicBezTo>
                    <a:pt x="458" y="1603"/>
                    <a:pt x="448" y="1593"/>
                    <a:pt x="436" y="1593"/>
                  </a:cubicBezTo>
                  <a:close/>
                  <a:moveTo>
                    <a:pt x="753" y="1828"/>
                  </a:moveTo>
                  <a:cubicBezTo>
                    <a:pt x="688" y="1828"/>
                    <a:pt x="636" y="1775"/>
                    <a:pt x="636" y="1710"/>
                  </a:cubicBezTo>
                  <a:cubicBezTo>
                    <a:pt x="636" y="1645"/>
                    <a:pt x="688" y="1593"/>
                    <a:pt x="753" y="1593"/>
                  </a:cubicBezTo>
                  <a:cubicBezTo>
                    <a:pt x="818" y="1593"/>
                    <a:pt x="871" y="1645"/>
                    <a:pt x="871" y="1710"/>
                  </a:cubicBezTo>
                  <a:cubicBezTo>
                    <a:pt x="871" y="1775"/>
                    <a:pt x="818" y="1828"/>
                    <a:pt x="753" y="1828"/>
                  </a:cubicBezTo>
                  <a:close/>
                  <a:moveTo>
                    <a:pt x="753" y="1637"/>
                  </a:moveTo>
                  <a:cubicBezTo>
                    <a:pt x="713" y="1637"/>
                    <a:pt x="680" y="1670"/>
                    <a:pt x="680" y="1710"/>
                  </a:cubicBezTo>
                  <a:cubicBezTo>
                    <a:pt x="680" y="1751"/>
                    <a:pt x="713" y="1784"/>
                    <a:pt x="753" y="1784"/>
                  </a:cubicBezTo>
                  <a:cubicBezTo>
                    <a:pt x="794" y="1784"/>
                    <a:pt x="827" y="1751"/>
                    <a:pt x="827" y="1710"/>
                  </a:cubicBezTo>
                  <a:cubicBezTo>
                    <a:pt x="827" y="1670"/>
                    <a:pt x="794" y="1637"/>
                    <a:pt x="753" y="1637"/>
                  </a:cubicBezTo>
                  <a:close/>
                  <a:moveTo>
                    <a:pt x="1706" y="1828"/>
                  </a:moveTo>
                  <a:cubicBezTo>
                    <a:pt x="1641" y="1828"/>
                    <a:pt x="1588" y="1775"/>
                    <a:pt x="1588" y="1710"/>
                  </a:cubicBezTo>
                  <a:cubicBezTo>
                    <a:pt x="1588" y="1645"/>
                    <a:pt x="1641" y="1593"/>
                    <a:pt x="1706" y="1593"/>
                  </a:cubicBezTo>
                  <a:cubicBezTo>
                    <a:pt x="1771" y="1593"/>
                    <a:pt x="1824" y="1645"/>
                    <a:pt x="1824" y="1710"/>
                  </a:cubicBezTo>
                  <a:cubicBezTo>
                    <a:pt x="1824" y="1775"/>
                    <a:pt x="1771" y="1828"/>
                    <a:pt x="1706" y="1828"/>
                  </a:cubicBezTo>
                  <a:close/>
                  <a:moveTo>
                    <a:pt x="1706" y="1637"/>
                  </a:moveTo>
                  <a:cubicBezTo>
                    <a:pt x="1665" y="1637"/>
                    <a:pt x="1632" y="1670"/>
                    <a:pt x="1632" y="1710"/>
                  </a:cubicBezTo>
                  <a:cubicBezTo>
                    <a:pt x="1632" y="1751"/>
                    <a:pt x="1665" y="1784"/>
                    <a:pt x="1706" y="1784"/>
                  </a:cubicBezTo>
                  <a:cubicBezTo>
                    <a:pt x="1747" y="1784"/>
                    <a:pt x="1780" y="1751"/>
                    <a:pt x="1780" y="1710"/>
                  </a:cubicBezTo>
                  <a:cubicBezTo>
                    <a:pt x="1780" y="1670"/>
                    <a:pt x="1747" y="1637"/>
                    <a:pt x="1706" y="1637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9" name="Freeform 36">
              <a:extLst>
                <a:ext uri="{FF2B5EF4-FFF2-40B4-BE49-F238E27FC236}">
                  <a16:creationId xmlns:a16="http://schemas.microsoft.com/office/drawing/2014/main" xmlns="" id="{AA7A02C6-8B66-4350-AA28-E953D47C6F8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12" y="990"/>
              <a:ext cx="2243" cy="2867"/>
            </a:xfrm>
            <a:custGeom>
              <a:avLst/>
              <a:gdLst>
                <a:gd name="T0" fmla="*/ 511 w 1197"/>
                <a:gd name="T1" fmla="*/ 220 h 1529"/>
                <a:gd name="T2" fmla="*/ 473 w 1197"/>
                <a:gd name="T3" fmla="*/ 132 h 1529"/>
                <a:gd name="T4" fmla="*/ 388 w 1197"/>
                <a:gd name="T5" fmla="*/ 18 h 1529"/>
                <a:gd name="T6" fmla="*/ 259 w 1197"/>
                <a:gd name="T7" fmla="*/ 31 h 1529"/>
                <a:gd name="T8" fmla="*/ 168 w 1197"/>
                <a:gd name="T9" fmla="*/ 17 h 1529"/>
                <a:gd name="T10" fmla="*/ 117 w 1197"/>
                <a:gd name="T11" fmla="*/ 94 h 1529"/>
                <a:gd name="T12" fmla="*/ 19 w 1197"/>
                <a:gd name="T13" fmla="*/ 179 h 1529"/>
                <a:gd name="T14" fmla="*/ 42 w 1197"/>
                <a:gd name="T15" fmla="*/ 320 h 1529"/>
                <a:gd name="T16" fmla="*/ 80 w 1197"/>
                <a:gd name="T17" fmla="*/ 409 h 1529"/>
                <a:gd name="T18" fmla="*/ 160 w 1197"/>
                <a:gd name="T19" fmla="*/ 524 h 1529"/>
                <a:gd name="T20" fmla="*/ 298 w 1197"/>
                <a:gd name="T21" fmla="*/ 513 h 1529"/>
                <a:gd name="T22" fmla="*/ 386 w 1197"/>
                <a:gd name="T23" fmla="*/ 528 h 1529"/>
                <a:gd name="T24" fmla="*/ 436 w 1197"/>
                <a:gd name="T25" fmla="*/ 453 h 1529"/>
                <a:gd name="T26" fmla="*/ 538 w 1197"/>
                <a:gd name="T27" fmla="*/ 359 h 1529"/>
                <a:gd name="T28" fmla="*/ 325 w 1197"/>
                <a:gd name="T29" fmla="*/ 384 h 1529"/>
                <a:gd name="T30" fmla="*/ 229 w 1197"/>
                <a:gd name="T31" fmla="*/ 161 h 1529"/>
                <a:gd name="T32" fmla="*/ 325 w 1197"/>
                <a:gd name="T33" fmla="*/ 384 h 1529"/>
                <a:gd name="T34" fmla="*/ 1154 w 1197"/>
                <a:gd name="T35" fmla="*/ 1204 h 1529"/>
                <a:gd name="T36" fmla="*/ 1116 w 1197"/>
                <a:gd name="T37" fmla="*/ 1116 h 1529"/>
                <a:gd name="T38" fmla="*/ 1031 w 1197"/>
                <a:gd name="T39" fmla="*/ 1003 h 1529"/>
                <a:gd name="T40" fmla="*/ 902 w 1197"/>
                <a:gd name="T41" fmla="*/ 1015 h 1529"/>
                <a:gd name="T42" fmla="*/ 811 w 1197"/>
                <a:gd name="T43" fmla="*/ 1001 h 1529"/>
                <a:gd name="T44" fmla="*/ 760 w 1197"/>
                <a:gd name="T45" fmla="*/ 1078 h 1529"/>
                <a:gd name="T46" fmla="*/ 662 w 1197"/>
                <a:gd name="T47" fmla="*/ 1164 h 1529"/>
                <a:gd name="T48" fmla="*/ 685 w 1197"/>
                <a:gd name="T49" fmla="*/ 1305 h 1529"/>
                <a:gd name="T50" fmla="*/ 723 w 1197"/>
                <a:gd name="T51" fmla="*/ 1393 h 1529"/>
                <a:gd name="T52" fmla="*/ 803 w 1197"/>
                <a:gd name="T53" fmla="*/ 1508 h 1529"/>
                <a:gd name="T54" fmla="*/ 941 w 1197"/>
                <a:gd name="T55" fmla="*/ 1498 h 1529"/>
                <a:gd name="T56" fmla="*/ 1029 w 1197"/>
                <a:gd name="T57" fmla="*/ 1512 h 1529"/>
                <a:gd name="T58" fmla="*/ 1079 w 1197"/>
                <a:gd name="T59" fmla="*/ 1438 h 1529"/>
                <a:gd name="T60" fmla="*/ 1181 w 1197"/>
                <a:gd name="T61" fmla="*/ 1343 h 1529"/>
                <a:gd name="T62" fmla="*/ 968 w 1197"/>
                <a:gd name="T63" fmla="*/ 1368 h 1529"/>
                <a:gd name="T64" fmla="*/ 872 w 1197"/>
                <a:gd name="T65" fmla="*/ 1145 h 1529"/>
                <a:gd name="T66" fmla="*/ 968 w 1197"/>
                <a:gd name="T67" fmla="*/ 1368 h 152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197" h="1529">
                  <a:moveTo>
                    <a:pt x="550" y="244"/>
                  </a:moveTo>
                  <a:cubicBezTo>
                    <a:pt x="511" y="220"/>
                    <a:pt x="511" y="220"/>
                    <a:pt x="511" y="220"/>
                  </a:cubicBezTo>
                  <a:cubicBezTo>
                    <a:pt x="508" y="205"/>
                    <a:pt x="503" y="191"/>
                    <a:pt x="497" y="176"/>
                  </a:cubicBezTo>
                  <a:cubicBezTo>
                    <a:pt x="491" y="161"/>
                    <a:pt x="482" y="146"/>
                    <a:pt x="473" y="132"/>
                  </a:cubicBezTo>
                  <a:cubicBezTo>
                    <a:pt x="482" y="87"/>
                    <a:pt x="482" y="87"/>
                    <a:pt x="482" y="87"/>
                  </a:cubicBezTo>
                  <a:cubicBezTo>
                    <a:pt x="456" y="58"/>
                    <a:pt x="423" y="34"/>
                    <a:pt x="388" y="18"/>
                  </a:cubicBezTo>
                  <a:cubicBezTo>
                    <a:pt x="348" y="41"/>
                    <a:pt x="348" y="41"/>
                    <a:pt x="348" y="41"/>
                  </a:cubicBezTo>
                  <a:cubicBezTo>
                    <a:pt x="319" y="32"/>
                    <a:pt x="289" y="29"/>
                    <a:pt x="259" y="31"/>
                  </a:cubicBezTo>
                  <a:cubicBezTo>
                    <a:pt x="225" y="0"/>
                    <a:pt x="225" y="0"/>
                    <a:pt x="225" y="0"/>
                  </a:cubicBezTo>
                  <a:cubicBezTo>
                    <a:pt x="206" y="4"/>
                    <a:pt x="187" y="9"/>
                    <a:pt x="168" y="17"/>
                  </a:cubicBezTo>
                  <a:cubicBezTo>
                    <a:pt x="150" y="25"/>
                    <a:pt x="132" y="35"/>
                    <a:pt x="117" y="46"/>
                  </a:cubicBezTo>
                  <a:cubicBezTo>
                    <a:pt x="117" y="94"/>
                    <a:pt x="117" y="94"/>
                    <a:pt x="117" y="94"/>
                  </a:cubicBezTo>
                  <a:cubicBezTo>
                    <a:pt x="94" y="115"/>
                    <a:pt x="75" y="138"/>
                    <a:pt x="62" y="165"/>
                  </a:cubicBezTo>
                  <a:cubicBezTo>
                    <a:pt x="19" y="179"/>
                    <a:pt x="19" y="179"/>
                    <a:pt x="19" y="179"/>
                  </a:cubicBezTo>
                  <a:cubicBezTo>
                    <a:pt x="5" y="216"/>
                    <a:pt x="0" y="256"/>
                    <a:pt x="3" y="297"/>
                  </a:cubicBezTo>
                  <a:cubicBezTo>
                    <a:pt x="42" y="320"/>
                    <a:pt x="42" y="320"/>
                    <a:pt x="42" y="320"/>
                  </a:cubicBezTo>
                  <a:cubicBezTo>
                    <a:pt x="45" y="336"/>
                    <a:pt x="50" y="352"/>
                    <a:pt x="58" y="368"/>
                  </a:cubicBezTo>
                  <a:cubicBezTo>
                    <a:pt x="64" y="382"/>
                    <a:pt x="71" y="396"/>
                    <a:pt x="80" y="409"/>
                  </a:cubicBezTo>
                  <a:cubicBezTo>
                    <a:pt x="69" y="453"/>
                    <a:pt x="69" y="453"/>
                    <a:pt x="69" y="453"/>
                  </a:cubicBezTo>
                  <a:cubicBezTo>
                    <a:pt x="95" y="484"/>
                    <a:pt x="126" y="507"/>
                    <a:pt x="160" y="524"/>
                  </a:cubicBezTo>
                  <a:cubicBezTo>
                    <a:pt x="199" y="501"/>
                    <a:pt x="199" y="501"/>
                    <a:pt x="199" y="501"/>
                  </a:cubicBezTo>
                  <a:cubicBezTo>
                    <a:pt x="231" y="512"/>
                    <a:pt x="264" y="516"/>
                    <a:pt x="298" y="513"/>
                  </a:cubicBezTo>
                  <a:cubicBezTo>
                    <a:pt x="333" y="545"/>
                    <a:pt x="333" y="545"/>
                    <a:pt x="333" y="545"/>
                  </a:cubicBezTo>
                  <a:cubicBezTo>
                    <a:pt x="350" y="540"/>
                    <a:pt x="368" y="535"/>
                    <a:pt x="386" y="528"/>
                  </a:cubicBezTo>
                  <a:cubicBezTo>
                    <a:pt x="403" y="520"/>
                    <a:pt x="420" y="510"/>
                    <a:pt x="436" y="499"/>
                  </a:cubicBezTo>
                  <a:cubicBezTo>
                    <a:pt x="436" y="453"/>
                    <a:pt x="436" y="453"/>
                    <a:pt x="436" y="453"/>
                  </a:cubicBezTo>
                  <a:cubicBezTo>
                    <a:pt x="461" y="430"/>
                    <a:pt x="481" y="402"/>
                    <a:pt x="495" y="372"/>
                  </a:cubicBezTo>
                  <a:cubicBezTo>
                    <a:pt x="538" y="359"/>
                    <a:pt x="538" y="359"/>
                    <a:pt x="538" y="359"/>
                  </a:cubicBezTo>
                  <a:cubicBezTo>
                    <a:pt x="550" y="322"/>
                    <a:pt x="554" y="283"/>
                    <a:pt x="550" y="244"/>
                  </a:cubicBezTo>
                  <a:close/>
                  <a:moveTo>
                    <a:pt x="325" y="384"/>
                  </a:moveTo>
                  <a:cubicBezTo>
                    <a:pt x="264" y="411"/>
                    <a:pt x="193" y="382"/>
                    <a:pt x="167" y="320"/>
                  </a:cubicBezTo>
                  <a:cubicBezTo>
                    <a:pt x="140" y="258"/>
                    <a:pt x="168" y="187"/>
                    <a:pt x="229" y="161"/>
                  </a:cubicBezTo>
                  <a:cubicBezTo>
                    <a:pt x="290" y="134"/>
                    <a:pt x="361" y="163"/>
                    <a:pt x="387" y="224"/>
                  </a:cubicBezTo>
                  <a:cubicBezTo>
                    <a:pt x="414" y="285"/>
                    <a:pt x="386" y="358"/>
                    <a:pt x="325" y="384"/>
                  </a:cubicBezTo>
                  <a:close/>
                  <a:moveTo>
                    <a:pt x="1193" y="1228"/>
                  </a:moveTo>
                  <a:cubicBezTo>
                    <a:pt x="1154" y="1204"/>
                    <a:pt x="1154" y="1204"/>
                    <a:pt x="1154" y="1204"/>
                  </a:cubicBezTo>
                  <a:cubicBezTo>
                    <a:pt x="1151" y="1190"/>
                    <a:pt x="1146" y="1175"/>
                    <a:pt x="1140" y="1160"/>
                  </a:cubicBezTo>
                  <a:cubicBezTo>
                    <a:pt x="1134" y="1145"/>
                    <a:pt x="1125" y="1130"/>
                    <a:pt x="1116" y="1116"/>
                  </a:cubicBezTo>
                  <a:cubicBezTo>
                    <a:pt x="1125" y="1072"/>
                    <a:pt x="1125" y="1072"/>
                    <a:pt x="1125" y="1072"/>
                  </a:cubicBezTo>
                  <a:cubicBezTo>
                    <a:pt x="1099" y="1042"/>
                    <a:pt x="1066" y="1018"/>
                    <a:pt x="1031" y="1003"/>
                  </a:cubicBezTo>
                  <a:cubicBezTo>
                    <a:pt x="991" y="1026"/>
                    <a:pt x="991" y="1026"/>
                    <a:pt x="991" y="1026"/>
                  </a:cubicBezTo>
                  <a:cubicBezTo>
                    <a:pt x="962" y="1016"/>
                    <a:pt x="932" y="1013"/>
                    <a:pt x="902" y="1015"/>
                  </a:cubicBezTo>
                  <a:cubicBezTo>
                    <a:pt x="868" y="984"/>
                    <a:pt x="868" y="984"/>
                    <a:pt x="868" y="984"/>
                  </a:cubicBezTo>
                  <a:cubicBezTo>
                    <a:pt x="849" y="988"/>
                    <a:pt x="830" y="993"/>
                    <a:pt x="811" y="1001"/>
                  </a:cubicBezTo>
                  <a:cubicBezTo>
                    <a:pt x="793" y="1010"/>
                    <a:pt x="775" y="1019"/>
                    <a:pt x="760" y="1031"/>
                  </a:cubicBezTo>
                  <a:cubicBezTo>
                    <a:pt x="760" y="1078"/>
                    <a:pt x="760" y="1078"/>
                    <a:pt x="760" y="1078"/>
                  </a:cubicBezTo>
                  <a:cubicBezTo>
                    <a:pt x="737" y="1099"/>
                    <a:pt x="718" y="1123"/>
                    <a:pt x="705" y="1150"/>
                  </a:cubicBezTo>
                  <a:cubicBezTo>
                    <a:pt x="662" y="1164"/>
                    <a:pt x="662" y="1164"/>
                    <a:pt x="662" y="1164"/>
                  </a:cubicBezTo>
                  <a:cubicBezTo>
                    <a:pt x="648" y="1201"/>
                    <a:pt x="643" y="1240"/>
                    <a:pt x="646" y="1282"/>
                  </a:cubicBezTo>
                  <a:cubicBezTo>
                    <a:pt x="685" y="1305"/>
                    <a:pt x="685" y="1305"/>
                    <a:pt x="685" y="1305"/>
                  </a:cubicBezTo>
                  <a:cubicBezTo>
                    <a:pt x="688" y="1320"/>
                    <a:pt x="693" y="1337"/>
                    <a:pt x="701" y="1352"/>
                  </a:cubicBezTo>
                  <a:cubicBezTo>
                    <a:pt x="707" y="1367"/>
                    <a:pt x="714" y="1381"/>
                    <a:pt x="723" y="1393"/>
                  </a:cubicBezTo>
                  <a:cubicBezTo>
                    <a:pt x="712" y="1438"/>
                    <a:pt x="712" y="1438"/>
                    <a:pt x="712" y="1438"/>
                  </a:cubicBezTo>
                  <a:cubicBezTo>
                    <a:pt x="738" y="1468"/>
                    <a:pt x="769" y="1491"/>
                    <a:pt x="803" y="1508"/>
                  </a:cubicBezTo>
                  <a:cubicBezTo>
                    <a:pt x="842" y="1485"/>
                    <a:pt x="842" y="1485"/>
                    <a:pt x="842" y="1485"/>
                  </a:cubicBezTo>
                  <a:cubicBezTo>
                    <a:pt x="874" y="1496"/>
                    <a:pt x="907" y="1500"/>
                    <a:pt x="941" y="1498"/>
                  </a:cubicBezTo>
                  <a:cubicBezTo>
                    <a:pt x="976" y="1529"/>
                    <a:pt x="976" y="1529"/>
                    <a:pt x="976" y="1529"/>
                  </a:cubicBezTo>
                  <a:cubicBezTo>
                    <a:pt x="993" y="1525"/>
                    <a:pt x="1011" y="1519"/>
                    <a:pt x="1029" y="1512"/>
                  </a:cubicBezTo>
                  <a:cubicBezTo>
                    <a:pt x="1046" y="1504"/>
                    <a:pt x="1063" y="1494"/>
                    <a:pt x="1079" y="1484"/>
                  </a:cubicBezTo>
                  <a:cubicBezTo>
                    <a:pt x="1079" y="1438"/>
                    <a:pt x="1079" y="1438"/>
                    <a:pt x="1079" y="1438"/>
                  </a:cubicBezTo>
                  <a:cubicBezTo>
                    <a:pt x="1104" y="1415"/>
                    <a:pt x="1124" y="1387"/>
                    <a:pt x="1138" y="1356"/>
                  </a:cubicBezTo>
                  <a:cubicBezTo>
                    <a:pt x="1181" y="1343"/>
                    <a:pt x="1181" y="1343"/>
                    <a:pt x="1181" y="1343"/>
                  </a:cubicBezTo>
                  <a:cubicBezTo>
                    <a:pt x="1193" y="1307"/>
                    <a:pt x="1197" y="1267"/>
                    <a:pt x="1193" y="1228"/>
                  </a:cubicBezTo>
                  <a:close/>
                  <a:moveTo>
                    <a:pt x="968" y="1368"/>
                  </a:moveTo>
                  <a:cubicBezTo>
                    <a:pt x="907" y="1395"/>
                    <a:pt x="836" y="1366"/>
                    <a:pt x="810" y="1305"/>
                  </a:cubicBezTo>
                  <a:cubicBezTo>
                    <a:pt x="783" y="1243"/>
                    <a:pt x="811" y="1171"/>
                    <a:pt x="872" y="1145"/>
                  </a:cubicBezTo>
                  <a:cubicBezTo>
                    <a:pt x="933" y="1118"/>
                    <a:pt x="1004" y="1147"/>
                    <a:pt x="1030" y="1208"/>
                  </a:cubicBezTo>
                  <a:cubicBezTo>
                    <a:pt x="1057" y="1270"/>
                    <a:pt x="1029" y="1342"/>
                    <a:pt x="968" y="136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grpSp>
        <p:nvGrpSpPr>
          <p:cNvPr id="180" name="bcgIcons_Digital">
            <a:extLst>
              <a:ext uri="{FF2B5EF4-FFF2-40B4-BE49-F238E27FC236}">
                <a16:creationId xmlns:a16="http://schemas.microsoft.com/office/drawing/2014/main" xmlns="" id="{FD0C0E1A-6ECA-4776-BA8D-65825C565001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047822" y="2439259"/>
            <a:ext cx="431777" cy="419799"/>
            <a:chOff x="1682" y="0"/>
            <a:chExt cx="4316" cy="4320"/>
          </a:xfrm>
        </p:grpSpPr>
        <p:sp>
          <p:nvSpPr>
            <p:cNvPr id="181" name="AutoShape 8">
              <a:extLst>
                <a:ext uri="{FF2B5EF4-FFF2-40B4-BE49-F238E27FC236}">
                  <a16:creationId xmlns:a16="http://schemas.microsoft.com/office/drawing/2014/main" xmlns="" id="{35BF03EB-C695-47AD-B08A-BDC246456266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95" name="Freeform 10">
              <a:extLst>
                <a:ext uri="{FF2B5EF4-FFF2-40B4-BE49-F238E27FC236}">
                  <a16:creationId xmlns:a16="http://schemas.microsoft.com/office/drawing/2014/main" xmlns="" id="{AB2EC424-0EAB-414A-B95D-D10A4ABF516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27" y="919"/>
              <a:ext cx="2797" cy="2512"/>
            </a:xfrm>
            <a:custGeom>
              <a:avLst/>
              <a:gdLst>
                <a:gd name="T0" fmla="*/ 263 w 1493"/>
                <a:gd name="T1" fmla="*/ 1282 h 1340"/>
                <a:gd name="T2" fmla="*/ 379 w 1493"/>
                <a:gd name="T3" fmla="*/ 1282 h 1340"/>
                <a:gd name="T4" fmla="*/ 469 w 1493"/>
                <a:gd name="T5" fmla="*/ 22 h 1340"/>
                <a:gd name="T6" fmla="*/ 195 w 1493"/>
                <a:gd name="T7" fmla="*/ 0 h 1340"/>
                <a:gd name="T8" fmla="*/ 195 w 1493"/>
                <a:gd name="T9" fmla="*/ 44 h 1340"/>
                <a:gd name="T10" fmla="*/ 469 w 1493"/>
                <a:gd name="T11" fmla="*/ 22 h 1340"/>
                <a:gd name="T12" fmla="*/ 390 w 1493"/>
                <a:gd name="T13" fmla="*/ 564 h 1340"/>
                <a:gd name="T14" fmla="*/ 368 w 1493"/>
                <a:gd name="T15" fmla="*/ 701 h 1340"/>
                <a:gd name="T16" fmla="*/ 504 w 1493"/>
                <a:gd name="T17" fmla="*/ 723 h 1340"/>
                <a:gd name="T18" fmla="*/ 526 w 1493"/>
                <a:gd name="T19" fmla="*/ 586 h 1340"/>
                <a:gd name="T20" fmla="*/ 758 w 1493"/>
                <a:gd name="T21" fmla="*/ 347 h 1340"/>
                <a:gd name="T22" fmla="*/ 578 w 1493"/>
                <a:gd name="T23" fmla="*/ 369 h 1340"/>
                <a:gd name="T24" fmla="*/ 600 w 1493"/>
                <a:gd name="T25" fmla="*/ 549 h 1340"/>
                <a:gd name="T26" fmla="*/ 780 w 1493"/>
                <a:gd name="T27" fmla="*/ 527 h 1340"/>
                <a:gd name="T28" fmla="*/ 758 w 1493"/>
                <a:gd name="T29" fmla="*/ 347 h 1340"/>
                <a:gd name="T30" fmla="*/ 570 w 1493"/>
                <a:gd name="T31" fmla="*/ 586 h 1340"/>
                <a:gd name="T32" fmla="*/ 570 w 1493"/>
                <a:gd name="T33" fmla="*/ 701 h 1340"/>
                <a:gd name="T34" fmla="*/ 390 w 1493"/>
                <a:gd name="T35" fmla="*/ 767 h 1340"/>
                <a:gd name="T36" fmla="*/ 324 w 1493"/>
                <a:gd name="T37" fmla="*/ 586 h 1340"/>
                <a:gd name="T38" fmla="*/ 504 w 1493"/>
                <a:gd name="T39" fmla="*/ 520 h 1340"/>
                <a:gd name="T40" fmla="*/ 534 w 1493"/>
                <a:gd name="T41" fmla="*/ 527 h 1340"/>
                <a:gd name="T42" fmla="*/ 600 w 1493"/>
                <a:gd name="T43" fmla="*/ 303 h 1340"/>
                <a:gd name="T44" fmla="*/ 638 w 1493"/>
                <a:gd name="T45" fmla="*/ 115 h 1340"/>
                <a:gd name="T46" fmla="*/ 10 w 1493"/>
                <a:gd name="T47" fmla="*/ 105 h 1340"/>
                <a:gd name="T48" fmla="*/ 0 w 1493"/>
                <a:gd name="T49" fmla="*/ 1092 h 1340"/>
                <a:gd name="T50" fmla="*/ 628 w 1493"/>
                <a:gd name="T51" fmla="*/ 1102 h 1340"/>
                <a:gd name="T52" fmla="*/ 638 w 1493"/>
                <a:gd name="T53" fmla="*/ 593 h 1340"/>
                <a:gd name="T54" fmla="*/ 1095 w 1493"/>
                <a:gd name="T55" fmla="*/ 105 h 1340"/>
                <a:gd name="T56" fmla="*/ 874 w 1493"/>
                <a:gd name="T57" fmla="*/ 127 h 1340"/>
                <a:gd name="T58" fmla="*/ 896 w 1493"/>
                <a:gd name="T59" fmla="*/ 348 h 1340"/>
                <a:gd name="T60" fmla="*/ 1117 w 1493"/>
                <a:gd name="T61" fmla="*/ 326 h 1340"/>
                <a:gd name="T62" fmla="*/ 1095 w 1493"/>
                <a:gd name="T63" fmla="*/ 105 h 1340"/>
                <a:gd name="T64" fmla="*/ 1493 w 1493"/>
                <a:gd name="T65" fmla="*/ 222 h 1340"/>
                <a:gd name="T66" fmla="*/ 1197 w 1493"/>
                <a:gd name="T67" fmla="*/ 200 h 1340"/>
                <a:gd name="T68" fmla="*/ 1175 w 1493"/>
                <a:gd name="T69" fmla="*/ 496 h 1340"/>
                <a:gd name="T70" fmla="*/ 1471 w 1493"/>
                <a:gd name="T71" fmla="*/ 518 h 1340"/>
                <a:gd name="T72" fmla="*/ 1117 w 1493"/>
                <a:gd name="T73" fmla="*/ 667 h 1340"/>
                <a:gd name="T74" fmla="*/ 1095 w 1493"/>
                <a:gd name="T75" fmla="*/ 409 h 1340"/>
                <a:gd name="T76" fmla="*/ 838 w 1493"/>
                <a:gd name="T77" fmla="*/ 431 h 1340"/>
                <a:gd name="T78" fmla="*/ 860 w 1493"/>
                <a:gd name="T79" fmla="*/ 689 h 1340"/>
                <a:gd name="T80" fmla="*/ 1117 w 1493"/>
                <a:gd name="T81" fmla="*/ 667 h 13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493" h="1340">
                  <a:moveTo>
                    <a:pt x="321" y="1340"/>
                  </a:moveTo>
                  <a:cubicBezTo>
                    <a:pt x="289" y="1340"/>
                    <a:pt x="263" y="1314"/>
                    <a:pt x="263" y="1282"/>
                  </a:cubicBezTo>
                  <a:cubicBezTo>
                    <a:pt x="263" y="1250"/>
                    <a:pt x="289" y="1224"/>
                    <a:pt x="321" y="1224"/>
                  </a:cubicBezTo>
                  <a:cubicBezTo>
                    <a:pt x="353" y="1224"/>
                    <a:pt x="379" y="1250"/>
                    <a:pt x="379" y="1282"/>
                  </a:cubicBezTo>
                  <a:cubicBezTo>
                    <a:pt x="379" y="1314"/>
                    <a:pt x="353" y="1340"/>
                    <a:pt x="321" y="1340"/>
                  </a:cubicBezTo>
                  <a:close/>
                  <a:moveTo>
                    <a:pt x="469" y="22"/>
                  </a:moveTo>
                  <a:cubicBezTo>
                    <a:pt x="469" y="10"/>
                    <a:pt x="459" y="0"/>
                    <a:pt x="447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183" y="0"/>
                    <a:pt x="173" y="10"/>
                    <a:pt x="173" y="22"/>
                  </a:cubicBezTo>
                  <a:cubicBezTo>
                    <a:pt x="173" y="34"/>
                    <a:pt x="183" y="44"/>
                    <a:pt x="195" y="44"/>
                  </a:cubicBezTo>
                  <a:cubicBezTo>
                    <a:pt x="447" y="44"/>
                    <a:pt x="447" y="44"/>
                    <a:pt x="447" y="44"/>
                  </a:cubicBezTo>
                  <a:cubicBezTo>
                    <a:pt x="459" y="44"/>
                    <a:pt x="469" y="34"/>
                    <a:pt x="469" y="22"/>
                  </a:cubicBezTo>
                  <a:close/>
                  <a:moveTo>
                    <a:pt x="504" y="564"/>
                  </a:moveTo>
                  <a:cubicBezTo>
                    <a:pt x="390" y="564"/>
                    <a:pt x="390" y="564"/>
                    <a:pt x="390" y="564"/>
                  </a:cubicBezTo>
                  <a:cubicBezTo>
                    <a:pt x="377" y="564"/>
                    <a:pt x="368" y="574"/>
                    <a:pt x="368" y="586"/>
                  </a:cubicBezTo>
                  <a:cubicBezTo>
                    <a:pt x="368" y="701"/>
                    <a:pt x="368" y="701"/>
                    <a:pt x="368" y="701"/>
                  </a:cubicBezTo>
                  <a:cubicBezTo>
                    <a:pt x="368" y="713"/>
                    <a:pt x="377" y="723"/>
                    <a:pt x="390" y="723"/>
                  </a:cubicBezTo>
                  <a:cubicBezTo>
                    <a:pt x="504" y="723"/>
                    <a:pt x="504" y="723"/>
                    <a:pt x="504" y="723"/>
                  </a:cubicBezTo>
                  <a:cubicBezTo>
                    <a:pt x="516" y="723"/>
                    <a:pt x="526" y="713"/>
                    <a:pt x="526" y="701"/>
                  </a:cubicBezTo>
                  <a:cubicBezTo>
                    <a:pt x="526" y="586"/>
                    <a:pt x="526" y="586"/>
                    <a:pt x="526" y="586"/>
                  </a:cubicBezTo>
                  <a:cubicBezTo>
                    <a:pt x="526" y="574"/>
                    <a:pt x="516" y="564"/>
                    <a:pt x="504" y="564"/>
                  </a:cubicBezTo>
                  <a:moveTo>
                    <a:pt x="758" y="347"/>
                  </a:moveTo>
                  <a:cubicBezTo>
                    <a:pt x="600" y="347"/>
                    <a:pt x="600" y="347"/>
                    <a:pt x="600" y="347"/>
                  </a:cubicBezTo>
                  <a:cubicBezTo>
                    <a:pt x="588" y="347"/>
                    <a:pt x="578" y="357"/>
                    <a:pt x="578" y="369"/>
                  </a:cubicBezTo>
                  <a:cubicBezTo>
                    <a:pt x="578" y="527"/>
                    <a:pt x="578" y="527"/>
                    <a:pt x="578" y="527"/>
                  </a:cubicBezTo>
                  <a:cubicBezTo>
                    <a:pt x="578" y="539"/>
                    <a:pt x="588" y="549"/>
                    <a:pt x="600" y="549"/>
                  </a:cubicBezTo>
                  <a:cubicBezTo>
                    <a:pt x="758" y="549"/>
                    <a:pt x="758" y="549"/>
                    <a:pt x="758" y="549"/>
                  </a:cubicBezTo>
                  <a:cubicBezTo>
                    <a:pt x="770" y="549"/>
                    <a:pt x="780" y="539"/>
                    <a:pt x="780" y="527"/>
                  </a:cubicBezTo>
                  <a:cubicBezTo>
                    <a:pt x="780" y="369"/>
                    <a:pt x="780" y="369"/>
                    <a:pt x="780" y="369"/>
                  </a:cubicBezTo>
                  <a:cubicBezTo>
                    <a:pt x="780" y="357"/>
                    <a:pt x="770" y="347"/>
                    <a:pt x="758" y="347"/>
                  </a:cubicBezTo>
                  <a:moveTo>
                    <a:pt x="600" y="593"/>
                  </a:moveTo>
                  <a:cubicBezTo>
                    <a:pt x="589" y="593"/>
                    <a:pt x="579" y="590"/>
                    <a:pt x="570" y="586"/>
                  </a:cubicBezTo>
                  <a:cubicBezTo>
                    <a:pt x="570" y="586"/>
                    <a:pt x="570" y="586"/>
                    <a:pt x="570" y="586"/>
                  </a:cubicBezTo>
                  <a:cubicBezTo>
                    <a:pt x="570" y="701"/>
                    <a:pt x="570" y="701"/>
                    <a:pt x="570" y="701"/>
                  </a:cubicBezTo>
                  <a:cubicBezTo>
                    <a:pt x="570" y="737"/>
                    <a:pt x="541" y="767"/>
                    <a:pt x="504" y="767"/>
                  </a:cubicBezTo>
                  <a:cubicBezTo>
                    <a:pt x="390" y="767"/>
                    <a:pt x="390" y="767"/>
                    <a:pt x="390" y="767"/>
                  </a:cubicBezTo>
                  <a:cubicBezTo>
                    <a:pt x="353" y="767"/>
                    <a:pt x="324" y="737"/>
                    <a:pt x="324" y="701"/>
                  </a:cubicBezTo>
                  <a:cubicBezTo>
                    <a:pt x="324" y="586"/>
                    <a:pt x="324" y="586"/>
                    <a:pt x="324" y="586"/>
                  </a:cubicBezTo>
                  <a:cubicBezTo>
                    <a:pt x="324" y="550"/>
                    <a:pt x="353" y="520"/>
                    <a:pt x="390" y="520"/>
                  </a:cubicBezTo>
                  <a:cubicBezTo>
                    <a:pt x="504" y="520"/>
                    <a:pt x="504" y="520"/>
                    <a:pt x="504" y="520"/>
                  </a:cubicBezTo>
                  <a:cubicBezTo>
                    <a:pt x="515" y="520"/>
                    <a:pt x="525" y="523"/>
                    <a:pt x="534" y="528"/>
                  </a:cubicBezTo>
                  <a:cubicBezTo>
                    <a:pt x="534" y="527"/>
                    <a:pt x="534" y="527"/>
                    <a:pt x="534" y="527"/>
                  </a:cubicBezTo>
                  <a:cubicBezTo>
                    <a:pt x="534" y="369"/>
                    <a:pt x="534" y="369"/>
                    <a:pt x="534" y="369"/>
                  </a:cubicBezTo>
                  <a:cubicBezTo>
                    <a:pt x="534" y="333"/>
                    <a:pt x="564" y="303"/>
                    <a:pt x="600" y="303"/>
                  </a:cubicBezTo>
                  <a:cubicBezTo>
                    <a:pt x="638" y="303"/>
                    <a:pt x="638" y="303"/>
                    <a:pt x="638" y="303"/>
                  </a:cubicBezTo>
                  <a:cubicBezTo>
                    <a:pt x="638" y="115"/>
                    <a:pt x="638" y="115"/>
                    <a:pt x="638" y="115"/>
                  </a:cubicBezTo>
                  <a:cubicBezTo>
                    <a:pt x="638" y="110"/>
                    <a:pt x="634" y="105"/>
                    <a:pt x="628" y="105"/>
                  </a:cubicBezTo>
                  <a:cubicBezTo>
                    <a:pt x="10" y="105"/>
                    <a:pt x="10" y="105"/>
                    <a:pt x="10" y="105"/>
                  </a:cubicBezTo>
                  <a:cubicBezTo>
                    <a:pt x="4" y="105"/>
                    <a:pt x="0" y="110"/>
                    <a:pt x="0" y="115"/>
                  </a:cubicBezTo>
                  <a:cubicBezTo>
                    <a:pt x="0" y="1092"/>
                    <a:pt x="0" y="1092"/>
                    <a:pt x="0" y="1092"/>
                  </a:cubicBezTo>
                  <a:cubicBezTo>
                    <a:pt x="0" y="1098"/>
                    <a:pt x="4" y="1102"/>
                    <a:pt x="10" y="1102"/>
                  </a:cubicBezTo>
                  <a:cubicBezTo>
                    <a:pt x="628" y="1102"/>
                    <a:pt x="628" y="1102"/>
                    <a:pt x="628" y="1102"/>
                  </a:cubicBezTo>
                  <a:cubicBezTo>
                    <a:pt x="634" y="1102"/>
                    <a:pt x="638" y="1098"/>
                    <a:pt x="638" y="1092"/>
                  </a:cubicBezTo>
                  <a:cubicBezTo>
                    <a:pt x="638" y="593"/>
                    <a:pt x="638" y="593"/>
                    <a:pt x="638" y="593"/>
                  </a:cubicBezTo>
                  <a:lnTo>
                    <a:pt x="600" y="593"/>
                  </a:lnTo>
                  <a:close/>
                  <a:moveTo>
                    <a:pt x="1095" y="105"/>
                  </a:moveTo>
                  <a:cubicBezTo>
                    <a:pt x="896" y="105"/>
                    <a:pt x="896" y="105"/>
                    <a:pt x="896" y="105"/>
                  </a:cubicBezTo>
                  <a:cubicBezTo>
                    <a:pt x="884" y="105"/>
                    <a:pt x="874" y="115"/>
                    <a:pt x="874" y="127"/>
                  </a:cubicBezTo>
                  <a:cubicBezTo>
                    <a:pt x="874" y="326"/>
                    <a:pt x="874" y="326"/>
                    <a:pt x="874" y="326"/>
                  </a:cubicBezTo>
                  <a:cubicBezTo>
                    <a:pt x="874" y="338"/>
                    <a:pt x="884" y="348"/>
                    <a:pt x="896" y="348"/>
                  </a:cubicBezTo>
                  <a:cubicBezTo>
                    <a:pt x="1095" y="348"/>
                    <a:pt x="1095" y="348"/>
                    <a:pt x="1095" y="348"/>
                  </a:cubicBezTo>
                  <a:cubicBezTo>
                    <a:pt x="1107" y="348"/>
                    <a:pt x="1117" y="338"/>
                    <a:pt x="1117" y="326"/>
                  </a:cubicBezTo>
                  <a:cubicBezTo>
                    <a:pt x="1117" y="127"/>
                    <a:pt x="1117" y="127"/>
                    <a:pt x="1117" y="127"/>
                  </a:cubicBezTo>
                  <a:cubicBezTo>
                    <a:pt x="1117" y="115"/>
                    <a:pt x="1107" y="105"/>
                    <a:pt x="1095" y="105"/>
                  </a:cubicBezTo>
                  <a:moveTo>
                    <a:pt x="1493" y="496"/>
                  </a:moveTo>
                  <a:cubicBezTo>
                    <a:pt x="1493" y="222"/>
                    <a:pt x="1493" y="222"/>
                    <a:pt x="1493" y="222"/>
                  </a:cubicBezTo>
                  <a:cubicBezTo>
                    <a:pt x="1493" y="210"/>
                    <a:pt x="1483" y="200"/>
                    <a:pt x="1471" y="200"/>
                  </a:cubicBezTo>
                  <a:cubicBezTo>
                    <a:pt x="1197" y="200"/>
                    <a:pt x="1197" y="200"/>
                    <a:pt x="1197" y="200"/>
                  </a:cubicBezTo>
                  <a:cubicBezTo>
                    <a:pt x="1185" y="200"/>
                    <a:pt x="1175" y="210"/>
                    <a:pt x="1175" y="222"/>
                  </a:cubicBezTo>
                  <a:cubicBezTo>
                    <a:pt x="1175" y="496"/>
                    <a:pt x="1175" y="496"/>
                    <a:pt x="1175" y="496"/>
                  </a:cubicBezTo>
                  <a:cubicBezTo>
                    <a:pt x="1175" y="508"/>
                    <a:pt x="1185" y="518"/>
                    <a:pt x="1197" y="518"/>
                  </a:cubicBezTo>
                  <a:cubicBezTo>
                    <a:pt x="1471" y="518"/>
                    <a:pt x="1471" y="518"/>
                    <a:pt x="1471" y="518"/>
                  </a:cubicBezTo>
                  <a:cubicBezTo>
                    <a:pt x="1483" y="518"/>
                    <a:pt x="1493" y="508"/>
                    <a:pt x="1493" y="496"/>
                  </a:cubicBezTo>
                  <a:close/>
                  <a:moveTo>
                    <a:pt x="1117" y="667"/>
                  </a:moveTo>
                  <a:cubicBezTo>
                    <a:pt x="1117" y="431"/>
                    <a:pt x="1117" y="431"/>
                    <a:pt x="1117" y="431"/>
                  </a:cubicBezTo>
                  <a:cubicBezTo>
                    <a:pt x="1117" y="419"/>
                    <a:pt x="1107" y="409"/>
                    <a:pt x="1095" y="409"/>
                  </a:cubicBezTo>
                  <a:cubicBezTo>
                    <a:pt x="860" y="409"/>
                    <a:pt x="860" y="409"/>
                    <a:pt x="860" y="409"/>
                  </a:cubicBezTo>
                  <a:cubicBezTo>
                    <a:pt x="848" y="409"/>
                    <a:pt x="838" y="419"/>
                    <a:pt x="838" y="431"/>
                  </a:cubicBezTo>
                  <a:cubicBezTo>
                    <a:pt x="838" y="667"/>
                    <a:pt x="838" y="667"/>
                    <a:pt x="838" y="667"/>
                  </a:cubicBezTo>
                  <a:cubicBezTo>
                    <a:pt x="838" y="679"/>
                    <a:pt x="848" y="689"/>
                    <a:pt x="860" y="689"/>
                  </a:cubicBezTo>
                  <a:cubicBezTo>
                    <a:pt x="1095" y="689"/>
                    <a:pt x="1095" y="689"/>
                    <a:pt x="1095" y="689"/>
                  </a:cubicBezTo>
                  <a:cubicBezTo>
                    <a:pt x="1107" y="689"/>
                    <a:pt x="1117" y="679"/>
                    <a:pt x="1117" y="667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96" name="Freeform 11">
              <a:extLst>
                <a:ext uri="{FF2B5EF4-FFF2-40B4-BE49-F238E27FC236}">
                  <a16:creationId xmlns:a16="http://schemas.microsoft.com/office/drawing/2014/main" xmlns="" id="{55C50C4B-BED9-4109-A55B-C7995AB6DFC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74" y="728"/>
              <a:ext cx="1509" cy="2865"/>
            </a:xfrm>
            <a:custGeom>
              <a:avLst/>
              <a:gdLst>
                <a:gd name="T0" fmla="*/ 762 w 806"/>
                <a:gd name="T1" fmla="*/ 695 h 1528"/>
                <a:gd name="T2" fmla="*/ 762 w 806"/>
                <a:gd name="T3" fmla="*/ 1252 h 1528"/>
                <a:gd name="T4" fmla="*/ 44 w 806"/>
                <a:gd name="T5" fmla="*/ 1252 h 1528"/>
                <a:gd name="T6" fmla="*/ 44 w 806"/>
                <a:gd name="T7" fmla="*/ 44 h 1528"/>
                <a:gd name="T8" fmla="*/ 762 w 806"/>
                <a:gd name="T9" fmla="*/ 44 h 1528"/>
                <a:gd name="T10" fmla="*/ 762 w 806"/>
                <a:gd name="T11" fmla="*/ 405 h 1528"/>
                <a:gd name="T12" fmla="*/ 806 w 806"/>
                <a:gd name="T13" fmla="*/ 405 h 1528"/>
                <a:gd name="T14" fmla="*/ 806 w 806"/>
                <a:gd name="T15" fmla="*/ 22 h 1528"/>
                <a:gd name="T16" fmla="*/ 784 w 806"/>
                <a:gd name="T17" fmla="*/ 0 h 1528"/>
                <a:gd name="T18" fmla="*/ 22 w 806"/>
                <a:gd name="T19" fmla="*/ 0 h 1528"/>
                <a:gd name="T20" fmla="*/ 0 w 806"/>
                <a:gd name="T21" fmla="*/ 22 h 1528"/>
                <a:gd name="T22" fmla="*/ 0 w 806"/>
                <a:gd name="T23" fmla="*/ 1252 h 1528"/>
                <a:gd name="T24" fmla="*/ 0 w 806"/>
                <a:gd name="T25" fmla="*/ 1296 h 1528"/>
                <a:gd name="T26" fmla="*/ 0 w 806"/>
                <a:gd name="T27" fmla="*/ 1506 h 1528"/>
                <a:gd name="T28" fmla="*/ 22 w 806"/>
                <a:gd name="T29" fmla="*/ 1528 h 1528"/>
                <a:gd name="T30" fmla="*/ 784 w 806"/>
                <a:gd name="T31" fmla="*/ 1528 h 1528"/>
                <a:gd name="T32" fmla="*/ 806 w 806"/>
                <a:gd name="T33" fmla="*/ 1506 h 1528"/>
                <a:gd name="T34" fmla="*/ 806 w 806"/>
                <a:gd name="T35" fmla="*/ 1296 h 1528"/>
                <a:gd name="T36" fmla="*/ 806 w 806"/>
                <a:gd name="T37" fmla="*/ 1252 h 1528"/>
                <a:gd name="T38" fmla="*/ 806 w 806"/>
                <a:gd name="T39" fmla="*/ 695 h 1528"/>
                <a:gd name="T40" fmla="*/ 762 w 806"/>
                <a:gd name="T41" fmla="*/ 695 h 1528"/>
                <a:gd name="T42" fmla="*/ 762 w 806"/>
                <a:gd name="T43" fmla="*/ 1484 h 1528"/>
                <a:gd name="T44" fmla="*/ 44 w 806"/>
                <a:gd name="T45" fmla="*/ 1484 h 1528"/>
                <a:gd name="T46" fmla="*/ 44 w 806"/>
                <a:gd name="T47" fmla="*/ 1296 h 1528"/>
                <a:gd name="T48" fmla="*/ 762 w 806"/>
                <a:gd name="T49" fmla="*/ 1296 h 1528"/>
                <a:gd name="T50" fmla="*/ 762 w 806"/>
                <a:gd name="T51" fmla="*/ 1484 h 15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06" h="1528">
                  <a:moveTo>
                    <a:pt x="762" y="695"/>
                  </a:moveTo>
                  <a:cubicBezTo>
                    <a:pt x="762" y="1252"/>
                    <a:pt x="762" y="1252"/>
                    <a:pt x="762" y="1252"/>
                  </a:cubicBezTo>
                  <a:cubicBezTo>
                    <a:pt x="44" y="1252"/>
                    <a:pt x="44" y="1252"/>
                    <a:pt x="44" y="1252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762" y="44"/>
                    <a:pt x="762" y="44"/>
                    <a:pt x="762" y="44"/>
                  </a:cubicBezTo>
                  <a:cubicBezTo>
                    <a:pt x="762" y="405"/>
                    <a:pt x="762" y="405"/>
                    <a:pt x="762" y="405"/>
                  </a:cubicBezTo>
                  <a:cubicBezTo>
                    <a:pt x="806" y="405"/>
                    <a:pt x="806" y="405"/>
                    <a:pt x="806" y="405"/>
                  </a:cubicBezTo>
                  <a:cubicBezTo>
                    <a:pt x="806" y="22"/>
                    <a:pt x="806" y="22"/>
                    <a:pt x="806" y="22"/>
                  </a:cubicBezTo>
                  <a:cubicBezTo>
                    <a:pt x="806" y="10"/>
                    <a:pt x="796" y="0"/>
                    <a:pt x="784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10" y="0"/>
                    <a:pt x="0" y="10"/>
                    <a:pt x="0" y="22"/>
                  </a:cubicBezTo>
                  <a:cubicBezTo>
                    <a:pt x="0" y="1252"/>
                    <a:pt x="0" y="1252"/>
                    <a:pt x="0" y="1252"/>
                  </a:cubicBezTo>
                  <a:cubicBezTo>
                    <a:pt x="0" y="1296"/>
                    <a:pt x="0" y="1296"/>
                    <a:pt x="0" y="1296"/>
                  </a:cubicBezTo>
                  <a:cubicBezTo>
                    <a:pt x="0" y="1506"/>
                    <a:pt x="0" y="1506"/>
                    <a:pt x="0" y="1506"/>
                  </a:cubicBezTo>
                  <a:cubicBezTo>
                    <a:pt x="0" y="1518"/>
                    <a:pt x="10" y="1528"/>
                    <a:pt x="22" y="1528"/>
                  </a:cubicBezTo>
                  <a:cubicBezTo>
                    <a:pt x="784" y="1528"/>
                    <a:pt x="784" y="1528"/>
                    <a:pt x="784" y="1528"/>
                  </a:cubicBezTo>
                  <a:cubicBezTo>
                    <a:pt x="796" y="1528"/>
                    <a:pt x="806" y="1518"/>
                    <a:pt x="806" y="1506"/>
                  </a:cubicBezTo>
                  <a:cubicBezTo>
                    <a:pt x="806" y="1296"/>
                    <a:pt x="806" y="1296"/>
                    <a:pt x="806" y="1296"/>
                  </a:cubicBezTo>
                  <a:cubicBezTo>
                    <a:pt x="806" y="1252"/>
                    <a:pt x="806" y="1252"/>
                    <a:pt x="806" y="1252"/>
                  </a:cubicBezTo>
                  <a:cubicBezTo>
                    <a:pt x="806" y="695"/>
                    <a:pt x="806" y="695"/>
                    <a:pt x="806" y="695"/>
                  </a:cubicBezTo>
                  <a:lnTo>
                    <a:pt x="762" y="695"/>
                  </a:lnTo>
                  <a:close/>
                  <a:moveTo>
                    <a:pt x="762" y="1484"/>
                  </a:moveTo>
                  <a:cubicBezTo>
                    <a:pt x="44" y="1484"/>
                    <a:pt x="44" y="1484"/>
                    <a:pt x="44" y="1484"/>
                  </a:cubicBezTo>
                  <a:cubicBezTo>
                    <a:pt x="44" y="1296"/>
                    <a:pt x="44" y="1296"/>
                    <a:pt x="44" y="1296"/>
                  </a:cubicBezTo>
                  <a:cubicBezTo>
                    <a:pt x="762" y="1296"/>
                    <a:pt x="762" y="1296"/>
                    <a:pt x="762" y="1296"/>
                  </a:cubicBezTo>
                  <a:lnTo>
                    <a:pt x="762" y="1484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grpSp>
        <p:nvGrpSpPr>
          <p:cNvPr id="197" name="bcgIcons_RadioTower">
            <a:extLst>
              <a:ext uri="{FF2B5EF4-FFF2-40B4-BE49-F238E27FC236}">
                <a16:creationId xmlns:a16="http://schemas.microsoft.com/office/drawing/2014/main" xmlns="" id="{A8FEB43D-91EE-4932-93E9-1B55A2DB8C84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066361" y="3981711"/>
            <a:ext cx="384357" cy="373695"/>
            <a:chOff x="1682" y="0"/>
            <a:chExt cx="4316" cy="4320"/>
          </a:xfrm>
        </p:grpSpPr>
        <p:sp>
          <p:nvSpPr>
            <p:cNvPr id="198" name="AutoShape 18">
              <a:extLst>
                <a:ext uri="{FF2B5EF4-FFF2-40B4-BE49-F238E27FC236}">
                  <a16:creationId xmlns:a16="http://schemas.microsoft.com/office/drawing/2014/main" xmlns="" id="{453E67F6-E6EF-40EB-A252-1C09FBDD2B62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99" name="Freeform 20">
              <a:extLst>
                <a:ext uri="{FF2B5EF4-FFF2-40B4-BE49-F238E27FC236}">
                  <a16:creationId xmlns:a16="http://schemas.microsoft.com/office/drawing/2014/main" xmlns="" id="{D5D54C5F-055D-4434-9BD3-CA68A7A66C4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812" y="1198"/>
              <a:ext cx="2056" cy="2711"/>
            </a:xfrm>
            <a:custGeom>
              <a:avLst/>
              <a:gdLst>
                <a:gd name="T0" fmla="*/ 1094 w 1098"/>
                <a:gd name="T1" fmla="*/ 1414 h 1446"/>
                <a:gd name="T2" fmla="*/ 607 w 1098"/>
                <a:gd name="T3" fmla="*/ 0 h 1446"/>
                <a:gd name="T4" fmla="*/ 565 w 1098"/>
                <a:gd name="T5" fmla="*/ 14 h 1446"/>
                <a:gd name="T6" fmla="*/ 623 w 1098"/>
                <a:gd name="T7" fmla="*/ 183 h 1446"/>
                <a:gd name="T8" fmla="*/ 475 w 1098"/>
                <a:gd name="T9" fmla="*/ 183 h 1446"/>
                <a:gd name="T10" fmla="*/ 533 w 1098"/>
                <a:gd name="T11" fmla="*/ 14 h 1446"/>
                <a:gd name="T12" fmla="*/ 491 w 1098"/>
                <a:gd name="T13" fmla="*/ 0 h 1446"/>
                <a:gd name="T14" fmla="*/ 4 w 1098"/>
                <a:gd name="T15" fmla="*/ 1414 h 1446"/>
                <a:gd name="T16" fmla="*/ 18 w 1098"/>
                <a:gd name="T17" fmla="*/ 1442 h 1446"/>
                <a:gd name="T18" fmla="*/ 46 w 1098"/>
                <a:gd name="T19" fmla="*/ 1429 h 1446"/>
                <a:gd name="T20" fmla="*/ 145 w 1098"/>
                <a:gd name="T21" fmla="*/ 1139 h 1446"/>
                <a:gd name="T22" fmla="*/ 953 w 1098"/>
                <a:gd name="T23" fmla="*/ 1139 h 1446"/>
                <a:gd name="T24" fmla="*/ 1052 w 1098"/>
                <a:gd name="T25" fmla="*/ 1429 h 1446"/>
                <a:gd name="T26" fmla="*/ 1073 w 1098"/>
                <a:gd name="T27" fmla="*/ 1443 h 1446"/>
                <a:gd name="T28" fmla="*/ 1080 w 1098"/>
                <a:gd name="T29" fmla="*/ 1442 h 1446"/>
                <a:gd name="T30" fmla="*/ 1094 w 1098"/>
                <a:gd name="T31" fmla="*/ 1414 h 1446"/>
                <a:gd name="T32" fmla="*/ 826 w 1098"/>
                <a:gd name="T33" fmla="*/ 771 h 1446"/>
                <a:gd name="T34" fmla="*/ 592 w 1098"/>
                <a:gd name="T35" fmla="*/ 633 h 1446"/>
                <a:gd name="T36" fmla="*/ 747 w 1098"/>
                <a:gd name="T37" fmla="*/ 542 h 1446"/>
                <a:gd name="T38" fmla="*/ 826 w 1098"/>
                <a:gd name="T39" fmla="*/ 771 h 1446"/>
                <a:gd name="T40" fmla="*/ 324 w 1098"/>
                <a:gd name="T41" fmla="*/ 791 h 1446"/>
                <a:gd name="T42" fmla="*/ 549 w 1098"/>
                <a:gd name="T43" fmla="*/ 658 h 1446"/>
                <a:gd name="T44" fmla="*/ 774 w 1098"/>
                <a:gd name="T45" fmla="*/ 791 h 1446"/>
                <a:gd name="T46" fmla="*/ 324 w 1098"/>
                <a:gd name="T47" fmla="*/ 791 h 1446"/>
                <a:gd name="T48" fmla="*/ 745 w 1098"/>
                <a:gd name="T49" fmla="*/ 835 h 1446"/>
                <a:gd name="T50" fmla="*/ 549 w 1098"/>
                <a:gd name="T51" fmla="*/ 917 h 1446"/>
                <a:gd name="T52" fmla="*/ 353 w 1098"/>
                <a:gd name="T53" fmla="*/ 835 h 1446"/>
                <a:gd name="T54" fmla="*/ 745 w 1098"/>
                <a:gd name="T55" fmla="*/ 835 h 1446"/>
                <a:gd name="T56" fmla="*/ 420 w 1098"/>
                <a:gd name="T57" fmla="*/ 531 h 1446"/>
                <a:gd name="T58" fmla="*/ 678 w 1098"/>
                <a:gd name="T59" fmla="*/ 531 h 1446"/>
                <a:gd name="T60" fmla="*/ 549 w 1098"/>
                <a:gd name="T61" fmla="*/ 607 h 1446"/>
                <a:gd name="T62" fmla="*/ 420 w 1098"/>
                <a:gd name="T63" fmla="*/ 531 h 1446"/>
                <a:gd name="T64" fmla="*/ 460 w 1098"/>
                <a:gd name="T65" fmla="*/ 227 h 1446"/>
                <a:gd name="T66" fmla="*/ 638 w 1098"/>
                <a:gd name="T67" fmla="*/ 227 h 1446"/>
                <a:gd name="T68" fmla="*/ 728 w 1098"/>
                <a:gd name="T69" fmla="*/ 487 h 1446"/>
                <a:gd name="T70" fmla="*/ 370 w 1098"/>
                <a:gd name="T71" fmla="*/ 487 h 1446"/>
                <a:gd name="T72" fmla="*/ 460 w 1098"/>
                <a:gd name="T73" fmla="*/ 227 h 1446"/>
                <a:gd name="T74" fmla="*/ 351 w 1098"/>
                <a:gd name="T75" fmla="*/ 542 h 1446"/>
                <a:gd name="T76" fmla="*/ 506 w 1098"/>
                <a:gd name="T77" fmla="*/ 633 h 1446"/>
                <a:gd name="T78" fmla="*/ 272 w 1098"/>
                <a:gd name="T79" fmla="*/ 771 h 1446"/>
                <a:gd name="T80" fmla="*/ 351 w 1098"/>
                <a:gd name="T81" fmla="*/ 542 h 1446"/>
                <a:gd name="T82" fmla="*/ 249 w 1098"/>
                <a:gd name="T83" fmla="*/ 839 h 1446"/>
                <a:gd name="T84" fmla="*/ 492 w 1098"/>
                <a:gd name="T85" fmla="*/ 941 h 1446"/>
                <a:gd name="T86" fmla="*/ 167 w 1098"/>
                <a:gd name="T87" fmla="*/ 1078 h 1446"/>
                <a:gd name="T88" fmla="*/ 249 w 1098"/>
                <a:gd name="T89" fmla="*/ 839 h 1446"/>
                <a:gd name="T90" fmla="*/ 239 w 1098"/>
                <a:gd name="T91" fmla="*/ 1095 h 1446"/>
                <a:gd name="T92" fmla="*/ 549 w 1098"/>
                <a:gd name="T93" fmla="*/ 965 h 1446"/>
                <a:gd name="T94" fmla="*/ 859 w 1098"/>
                <a:gd name="T95" fmla="*/ 1095 h 1446"/>
                <a:gd name="T96" fmla="*/ 239 w 1098"/>
                <a:gd name="T97" fmla="*/ 1095 h 1446"/>
                <a:gd name="T98" fmla="*/ 606 w 1098"/>
                <a:gd name="T99" fmla="*/ 941 h 1446"/>
                <a:gd name="T100" fmla="*/ 849 w 1098"/>
                <a:gd name="T101" fmla="*/ 839 h 1446"/>
                <a:gd name="T102" fmla="*/ 931 w 1098"/>
                <a:gd name="T103" fmla="*/ 1078 h 1446"/>
                <a:gd name="T104" fmla="*/ 606 w 1098"/>
                <a:gd name="T105" fmla="*/ 941 h 1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098" h="1446">
                  <a:moveTo>
                    <a:pt x="1094" y="1414"/>
                  </a:moveTo>
                  <a:cubicBezTo>
                    <a:pt x="607" y="0"/>
                    <a:pt x="607" y="0"/>
                    <a:pt x="607" y="0"/>
                  </a:cubicBezTo>
                  <a:cubicBezTo>
                    <a:pt x="594" y="7"/>
                    <a:pt x="580" y="12"/>
                    <a:pt x="565" y="14"/>
                  </a:cubicBezTo>
                  <a:cubicBezTo>
                    <a:pt x="623" y="183"/>
                    <a:pt x="623" y="183"/>
                    <a:pt x="623" y="183"/>
                  </a:cubicBezTo>
                  <a:cubicBezTo>
                    <a:pt x="475" y="183"/>
                    <a:pt x="475" y="183"/>
                    <a:pt x="475" y="183"/>
                  </a:cubicBezTo>
                  <a:cubicBezTo>
                    <a:pt x="533" y="14"/>
                    <a:pt x="533" y="14"/>
                    <a:pt x="533" y="14"/>
                  </a:cubicBezTo>
                  <a:cubicBezTo>
                    <a:pt x="518" y="12"/>
                    <a:pt x="504" y="7"/>
                    <a:pt x="491" y="0"/>
                  </a:cubicBezTo>
                  <a:cubicBezTo>
                    <a:pt x="4" y="1414"/>
                    <a:pt x="4" y="1414"/>
                    <a:pt x="4" y="1414"/>
                  </a:cubicBezTo>
                  <a:cubicBezTo>
                    <a:pt x="0" y="1426"/>
                    <a:pt x="6" y="1438"/>
                    <a:pt x="18" y="1442"/>
                  </a:cubicBezTo>
                  <a:cubicBezTo>
                    <a:pt x="29" y="1446"/>
                    <a:pt x="42" y="1440"/>
                    <a:pt x="46" y="1429"/>
                  </a:cubicBezTo>
                  <a:cubicBezTo>
                    <a:pt x="145" y="1139"/>
                    <a:pt x="145" y="1139"/>
                    <a:pt x="145" y="1139"/>
                  </a:cubicBezTo>
                  <a:cubicBezTo>
                    <a:pt x="953" y="1139"/>
                    <a:pt x="953" y="1139"/>
                    <a:pt x="953" y="1139"/>
                  </a:cubicBezTo>
                  <a:cubicBezTo>
                    <a:pt x="1052" y="1429"/>
                    <a:pt x="1052" y="1429"/>
                    <a:pt x="1052" y="1429"/>
                  </a:cubicBezTo>
                  <a:cubicBezTo>
                    <a:pt x="1055" y="1438"/>
                    <a:pt x="1064" y="1443"/>
                    <a:pt x="1073" y="1443"/>
                  </a:cubicBezTo>
                  <a:cubicBezTo>
                    <a:pt x="1075" y="1443"/>
                    <a:pt x="1078" y="1443"/>
                    <a:pt x="1080" y="1442"/>
                  </a:cubicBezTo>
                  <a:cubicBezTo>
                    <a:pt x="1092" y="1438"/>
                    <a:pt x="1098" y="1426"/>
                    <a:pt x="1094" y="1414"/>
                  </a:cubicBezTo>
                  <a:close/>
                  <a:moveTo>
                    <a:pt x="826" y="771"/>
                  </a:moveTo>
                  <a:cubicBezTo>
                    <a:pt x="592" y="633"/>
                    <a:pt x="592" y="633"/>
                    <a:pt x="592" y="633"/>
                  </a:cubicBezTo>
                  <a:cubicBezTo>
                    <a:pt x="747" y="542"/>
                    <a:pt x="747" y="542"/>
                    <a:pt x="747" y="542"/>
                  </a:cubicBezTo>
                  <a:lnTo>
                    <a:pt x="826" y="771"/>
                  </a:lnTo>
                  <a:close/>
                  <a:moveTo>
                    <a:pt x="324" y="791"/>
                  </a:moveTo>
                  <a:cubicBezTo>
                    <a:pt x="549" y="658"/>
                    <a:pt x="549" y="658"/>
                    <a:pt x="549" y="658"/>
                  </a:cubicBezTo>
                  <a:cubicBezTo>
                    <a:pt x="774" y="791"/>
                    <a:pt x="774" y="791"/>
                    <a:pt x="774" y="791"/>
                  </a:cubicBezTo>
                  <a:lnTo>
                    <a:pt x="324" y="791"/>
                  </a:lnTo>
                  <a:close/>
                  <a:moveTo>
                    <a:pt x="745" y="835"/>
                  </a:moveTo>
                  <a:cubicBezTo>
                    <a:pt x="549" y="917"/>
                    <a:pt x="549" y="917"/>
                    <a:pt x="549" y="917"/>
                  </a:cubicBezTo>
                  <a:cubicBezTo>
                    <a:pt x="353" y="835"/>
                    <a:pt x="353" y="835"/>
                    <a:pt x="353" y="835"/>
                  </a:cubicBezTo>
                  <a:lnTo>
                    <a:pt x="745" y="835"/>
                  </a:lnTo>
                  <a:close/>
                  <a:moveTo>
                    <a:pt x="420" y="531"/>
                  </a:moveTo>
                  <a:cubicBezTo>
                    <a:pt x="678" y="531"/>
                    <a:pt x="678" y="531"/>
                    <a:pt x="678" y="531"/>
                  </a:cubicBezTo>
                  <a:cubicBezTo>
                    <a:pt x="549" y="607"/>
                    <a:pt x="549" y="607"/>
                    <a:pt x="549" y="607"/>
                  </a:cubicBezTo>
                  <a:lnTo>
                    <a:pt x="420" y="531"/>
                  </a:lnTo>
                  <a:close/>
                  <a:moveTo>
                    <a:pt x="460" y="227"/>
                  </a:moveTo>
                  <a:cubicBezTo>
                    <a:pt x="638" y="227"/>
                    <a:pt x="638" y="227"/>
                    <a:pt x="638" y="227"/>
                  </a:cubicBezTo>
                  <a:cubicBezTo>
                    <a:pt x="728" y="487"/>
                    <a:pt x="728" y="487"/>
                    <a:pt x="728" y="487"/>
                  </a:cubicBezTo>
                  <a:cubicBezTo>
                    <a:pt x="370" y="487"/>
                    <a:pt x="370" y="487"/>
                    <a:pt x="370" y="487"/>
                  </a:cubicBezTo>
                  <a:lnTo>
                    <a:pt x="460" y="227"/>
                  </a:lnTo>
                  <a:close/>
                  <a:moveTo>
                    <a:pt x="351" y="542"/>
                  </a:moveTo>
                  <a:cubicBezTo>
                    <a:pt x="506" y="633"/>
                    <a:pt x="506" y="633"/>
                    <a:pt x="506" y="633"/>
                  </a:cubicBezTo>
                  <a:cubicBezTo>
                    <a:pt x="272" y="771"/>
                    <a:pt x="272" y="771"/>
                    <a:pt x="272" y="771"/>
                  </a:cubicBezTo>
                  <a:lnTo>
                    <a:pt x="351" y="542"/>
                  </a:lnTo>
                  <a:close/>
                  <a:moveTo>
                    <a:pt x="249" y="839"/>
                  </a:moveTo>
                  <a:cubicBezTo>
                    <a:pt x="492" y="941"/>
                    <a:pt x="492" y="941"/>
                    <a:pt x="492" y="941"/>
                  </a:cubicBezTo>
                  <a:cubicBezTo>
                    <a:pt x="167" y="1078"/>
                    <a:pt x="167" y="1078"/>
                    <a:pt x="167" y="1078"/>
                  </a:cubicBezTo>
                  <a:lnTo>
                    <a:pt x="249" y="839"/>
                  </a:lnTo>
                  <a:close/>
                  <a:moveTo>
                    <a:pt x="239" y="1095"/>
                  </a:moveTo>
                  <a:cubicBezTo>
                    <a:pt x="549" y="965"/>
                    <a:pt x="549" y="965"/>
                    <a:pt x="549" y="965"/>
                  </a:cubicBezTo>
                  <a:cubicBezTo>
                    <a:pt x="859" y="1095"/>
                    <a:pt x="859" y="1095"/>
                    <a:pt x="859" y="1095"/>
                  </a:cubicBezTo>
                  <a:lnTo>
                    <a:pt x="239" y="1095"/>
                  </a:lnTo>
                  <a:close/>
                  <a:moveTo>
                    <a:pt x="606" y="941"/>
                  </a:moveTo>
                  <a:cubicBezTo>
                    <a:pt x="849" y="839"/>
                    <a:pt x="849" y="839"/>
                    <a:pt x="849" y="839"/>
                  </a:cubicBezTo>
                  <a:cubicBezTo>
                    <a:pt x="931" y="1078"/>
                    <a:pt x="931" y="1078"/>
                    <a:pt x="931" y="1078"/>
                  </a:cubicBezTo>
                  <a:lnTo>
                    <a:pt x="606" y="941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00" name="Freeform 21">
              <a:extLst>
                <a:ext uri="{FF2B5EF4-FFF2-40B4-BE49-F238E27FC236}">
                  <a16:creationId xmlns:a16="http://schemas.microsoft.com/office/drawing/2014/main" xmlns="" id="{9DB4C03F-11C1-4DBF-882E-44420328E5E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50" y="412"/>
              <a:ext cx="1180" cy="1022"/>
            </a:xfrm>
            <a:custGeom>
              <a:avLst/>
              <a:gdLst>
                <a:gd name="T0" fmla="*/ 315 w 630"/>
                <a:gd name="T1" fmla="*/ 235 h 545"/>
                <a:gd name="T2" fmla="*/ 392 w 630"/>
                <a:gd name="T3" fmla="*/ 312 h 545"/>
                <a:gd name="T4" fmla="*/ 315 w 630"/>
                <a:gd name="T5" fmla="*/ 390 h 545"/>
                <a:gd name="T6" fmla="*/ 238 w 630"/>
                <a:gd name="T7" fmla="*/ 312 h 545"/>
                <a:gd name="T8" fmla="*/ 315 w 630"/>
                <a:gd name="T9" fmla="*/ 235 h 545"/>
                <a:gd name="T10" fmla="*/ 456 w 630"/>
                <a:gd name="T11" fmla="*/ 428 h 545"/>
                <a:gd name="T12" fmla="*/ 497 w 630"/>
                <a:gd name="T13" fmla="*/ 312 h 545"/>
                <a:gd name="T14" fmla="*/ 315 w 630"/>
                <a:gd name="T15" fmla="*/ 130 h 545"/>
                <a:gd name="T16" fmla="*/ 133 w 630"/>
                <a:gd name="T17" fmla="*/ 312 h 545"/>
                <a:gd name="T18" fmla="*/ 174 w 630"/>
                <a:gd name="T19" fmla="*/ 428 h 545"/>
                <a:gd name="T20" fmla="*/ 205 w 630"/>
                <a:gd name="T21" fmla="*/ 431 h 545"/>
                <a:gd name="T22" fmla="*/ 208 w 630"/>
                <a:gd name="T23" fmla="*/ 400 h 545"/>
                <a:gd name="T24" fmla="*/ 177 w 630"/>
                <a:gd name="T25" fmla="*/ 312 h 545"/>
                <a:gd name="T26" fmla="*/ 315 w 630"/>
                <a:gd name="T27" fmla="*/ 174 h 545"/>
                <a:gd name="T28" fmla="*/ 453 w 630"/>
                <a:gd name="T29" fmla="*/ 312 h 545"/>
                <a:gd name="T30" fmla="*/ 422 w 630"/>
                <a:gd name="T31" fmla="*/ 400 h 545"/>
                <a:gd name="T32" fmla="*/ 425 w 630"/>
                <a:gd name="T33" fmla="*/ 431 h 545"/>
                <a:gd name="T34" fmla="*/ 439 w 630"/>
                <a:gd name="T35" fmla="*/ 436 h 545"/>
                <a:gd name="T36" fmla="*/ 456 w 630"/>
                <a:gd name="T37" fmla="*/ 428 h 545"/>
                <a:gd name="T38" fmla="*/ 538 w 630"/>
                <a:gd name="T39" fmla="*/ 538 h 545"/>
                <a:gd name="T40" fmla="*/ 630 w 630"/>
                <a:gd name="T41" fmla="*/ 315 h 545"/>
                <a:gd name="T42" fmla="*/ 315 w 630"/>
                <a:gd name="T43" fmla="*/ 0 h 545"/>
                <a:gd name="T44" fmla="*/ 0 w 630"/>
                <a:gd name="T45" fmla="*/ 315 h 545"/>
                <a:gd name="T46" fmla="*/ 90 w 630"/>
                <a:gd name="T47" fmla="*/ 536 h 545"/>
                <a:gd name="T48" fmla="*/ 121 w 630"/>
                <a:gd name="T49" fmla="*/ 536 h 545"/>
                <a:gd name="T50" fmla="*/ 121 w 630"/>
                <a:gd name="T51" fmla="*/ 505 h 545"/>
                <a:gd name="T52" fmla="*/ 44 w 630"/>
                <a:gd name="T53" fmla="*/ 315 h 545"/>
                <a:gd name="T54" fmla="*/ 315 w 630"/>
                <a:gd name="T55" fmla="*/ 44 h 545"/>
                <a:gd name="T56" fmla="*/ 586 w 630"/>
                <a:gd name="T57" fmla="*/ 315 h 545"/>
                <a:gd name="T58" fmla="*/ 507 w 630"/>
                <a:gd name="T59" fmla="*/ 507 h 545"/>
                <a:gd name="T60" fmla="*/ 507 w 630"/>
                <a:gd name="T61" fmla="*/ 538 h 545"/>
                <a:gd name="T62" fmla="*/ 522 w 630"/>
                <a:gd name="T63" fmla="*/ 544 h 545"/>
                <a:gd name="T64" fmla="*/ 538 w 630"/>
                <a:gd name="T65" fmla="*/ 538 h 5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630" h="545">
                  <a:moveTo>
                    <a:pt x="315" y="235"/>
                  </a:moveTo>
                  <a:cubicBezTo>
                    <a:pt x="358" y="235"/>
                    <a:pt x="392" y="270"/>
                    <a:pt x="392" y="312"/>
                  </a:cubicBezTo>
                  <a:cubicBezTo>
                    <a:pt x="392" y="355"/>
                    <a:pt x="358" y="390"/>
                    <a:pt x="315" y="390"/>
                  </a:cubicBezTo>
                  <a:cubicBezTo>
                    <a:pt x="272" y="390"/>
                    <a:pt x="238" y="355"/>
                    <a:pt x="238" y="312"/>
                  </a:cubicBezTo>
                  <a:cubicBezTo>
                    <a:pt x="238" y="270"/>
                    <a:pt x="272" y="235"/>
                    <a:pt x="315" y="235"/>
                  </a:cubicBezTo>
                  <a:moveTo>
                    <a:pt x="456" y="428"/>
                  </a:moveTo>
                  <a:cubicBezTo>
                    <a:pt x="483" y="395"/>
                    <a:pt x="497" y="354"/>
                    <a:pt x="497" y="312"/>
                  </a:cubicBezTo>
                  <a:cubicBezTo>
                    <a:pt x="497" y="212"/>
                    <a:pt x="416" y="130"/>
                    <a:pt x="315" y="130"/>
                  </a:cubicBezTo>
                  <a:cubicBezTo>
                    <a:pt x="214" y="130"/>
                    <a:pt x="133" y="212"/>
                    <a:pt x="133" y="312"/>
                  </a:cubicBezTo>
                  <a:cubicBezTo>
                    <a:pt x="133" y="354"/>
                    <a:pt x="147" y="395"/>
                    <a:pt x="174" y="428"/>
                  </a:cubicBezTo>
                  <a:cubicBezTo>
                    <a:pt x="182" y="437"/>
                    <a:pt x="195" y="439"/>
                    <a:pt x="205" y="431"/>
                  </a:cubicBezTo>
                  <a:cubicBezTo>
                    <a:pt x="214" y="423"/>
                    <a:pt x="216" y="409"/>
                    <a:pt x="208" y="400"/>
                  </a:cubicBezTo>
                  <a:cubicBezTo>
                    <a:pt x="188" y="375"/>
                    <a:pt x="177" y="344"/>
                    <a:pt x="177" y="312"/>
                  </a:cubicBezTo>
                  <a:cubicBezTo>
                    <a:pt x="177" y="236"/>
                    <a:pt x="239" y="174"/>
                    <a:pt x="315" y="174"/>
                  </a:cubicBezTo>
                  <a:cubicBezTo>
                    <a:pt x="391" y="174"/>
                    <a:pt x="453" y="236"/>
                    <a:pt x="453" y="312"/>
                  </a:cubicBezTo>
                  <a:cubicBezTo>
                    <a:pt x="453" y="344"/>
                    <a:pt x="442" y="375"/>
                    <a:pt x="422" y="400"/>
                  </a:cubicBezTo>
                  <a:cubicBezTo>
                    <a:pt x="414" y="409"/>
                    <a:pt x="416" y="423"/>
                    <a:pt x="425" y="431"/>
                  </a:cubicBezTo>
                  <a:cubicBezTo>
                    <a:pt x="429" y="434"/>
                    <a:pt x="434" y="436"/>
                    <a:pt x="439" y="436"/>
                  </a:cubicBezTo>
                  <a:cubicBezTo>
                    <a:pt x="445" y="436"/>
                    <a:pt x="452" y="433"/>
                    <a:pt x="456" y="428"/>
                  </a:cubicBezTo>
                  <a:close/>
                  <a:moveTo>
                    <a:pt x="538" y="538"/>
                  </a:moveTo>
                  <a:cubicBezTo>
                    <a:pt x="598" y="478"/>
                    <a:pt x="630" y="399"/>
                    <a:pt x="630" y="315"/>
                  </a:cubicBezTo>
                  <a:cubicBezTo>
                    <a:pt x="630" y="141"/>
                    <a:pt x="489" y="0"/>
                    <a:pt x="315" y="0"/>
                  </a:cubicBezTo>
                  <a:cubicBezTo>
                    <a:pt x="141" y="0"/>
                    <a:pt x="0" y="141"/>
                    <a:pt x="0" y="315"/>
                  </a:cubicBezTo>
                  <a:cubicBezTo>
                    <a:pt x="0" y="398"/>
                    <a:pt x="32" y="477"/>
                    <a:pt x="90" y="536"/>
                  </a:cubicBezTo>
                  <a:cubicBezTo>
                    <a:pt x="99" y="545"/>
                    <a:pt x="113" y="545"/>
                    <a:pt x="121" y="536"/>
                  </a:cubicBezTo>
                  <a:cubicBezTo>
                    <a:pt x="130" y="528"/>
                    <a:pt x="130" y="514"/>
                    <a:pt x="121" y="505"/>
                  </a:cubicBezTo>
                  <a:cubicBezTo>
                    <a:pt x="71" y="454"/>
                    <a:pt x="44" y="386"/>
                    <a:pt x="44" y="315"/>
                  </a:cubicBezTo>
                  <a:cubicBezTo>
                    <a:pt x="44" y="165"/>
                    <a:pt x="165" y="44"/>
                    <a:pt x="315" y="44"/>
                  </a:cubicBezTo>
                  <a:cubicBezTo>
                    <a:pt x="465" y="44"/>
                    <a:pt x="586" y="165"/>
                    <a:pt x="586" y="315"/>
                  </a:cubicBezTo>
                  <a:cubicBezTo>
                    <a:pt x="586" y="387"/>
                    <a:pt x="558" y="455"/>
                    <a:pt x="507" y="507"/>
                  </a:cubicBezTo>
                  <a:cubicBezTo>
                    <a:pt x="498" y="515"/>
                    <a:pt x="498" y="529"/>
                    <a:pt x="507" y="538"/>
                  </a:cubicBezTo>
                  <a:cubicBezTo>
                    <a:pt x="511" y="542"/>
                    <a:pt x="517" y="544"/>
                    <a:pt x="522" y="544"/>
                  </a:cubicBezTo>
                  <a:cubicBezTo>
                    <a:pt x="528" y="544"/>
                    <a:pt x="534" y="542"/>
                    <a:pt x="538" y="53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sp>
        <p:nvSpPr>
          <p:cNvPr id="201" name="Rectangle 200"/>
          <p:cNvSpPr/>
          <p:nvPr/>
        </p:nvSpPr>
        <p:spPr>
          <a:xfrm rot="16200000">
            <a:off x="-84754" y="1952402"/>
            <a:ext cx="1046548" cy="329283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800" dirty="0">
                <a:solidFill>
                  <a:srgbClr val="FFFFFF"/>
                </a:solidFill>
              </a:rPr>
              <a:t>Кросс-индустриальное регулирование</a:t>
            </a:r>
          </a:p>
        </p:txBody>
      </p:sp>
      <p:sp>
        <p:nvSpPr>
          <p:cNvPr id="202" name="Rectangle 201"/>
          <p:cNvSpPr/>
          <p:nvPr/>
        </p:nvSpPr>
        <p:spPr>
          <a:xfrm rot="16200000">
            <a:off x="-504702" y="3529415"/>
            <a:ext cx="1886446" cy="329282"/>
          </a:xfrm>
          <a:prstGeom prst="rect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900" dirty="0">
                <a:solidFill>
                  <a:srgbClr val="FFFFFF"/>
                </a:solidFill>
              </a:rPr>
              <a:t>Телеком регулирование</a:t>
            </a:r>
          </a:p>
        </p:txBody>
      </p:sp>
      <p:grpSp>
        <p:nvGrpSpPr>
          <p:cNvPr id="203" name="Group 202"/>
          <p:cNvGrpSpPr/>
          <p:nvPr/>
        </p:nvGrpSpPr>
        <p:grpSpPr>
          <a:xfrm>
            <a:off x="3001828" y="1870655"/>
            <a:ext cx="174406" cy="2471924"/>
            <a:chOff x="3849314" y="2382519"/>
            <a:chExt cx="232541" cy="3393084"/>
          </a:xfrm>
        </p:grpSpPr>
        <p:grpSp>
          <p:nvGrpSpPr>
            <p:cNvPr id="204" name="Group 203"/>
            <p:cNvGrpSpPr/>
            <p:nvPr/>
          </p:nvGrpSpPr>
          <p:grpSpPr>
            <a:xfrm>
              <a:off x="3849314" y="2382519"/>
              <a:ext cx="232541" cy="232541"/>
              <a:chOff x="982662" y="1847850"/>
              <a:chExt cx="269875" cy="269875"/>
            </a:xfrm>
          </p:grpSpPr>
          <p:sp>
            <p:nvSpPr>
              <p:cNvPr id="214" name="Oval 50"/>
              <p:cNvSpPr>
                <a:spLocks noChangeArrowheads="1"/>
              </p:cNvSpPr>
              <p:nvPr/>
            </p:nvSpPr>
            <p:spPr bwMode="auto">
              <a:xfrm>
                <a:off x="982662" y="1847850"/>
                <a:ext cx="269875" cy="269875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15" name="Freeform 51"/>
              <p:cNvSpPr>
                <a:spLocks/>
              </p:cNvSpPr>
              <p:nvPr/>
            </p:nvSpPr>
            <p:spPr bwMode="auto">
              <a:xfrm>
                <a:off x="1082675" y="1895475"/>
                <a:ext cx="96837" cy="174625"/>
              </a:xfrm>
              <a:custGeom>
                <a:avLst/>
                <a:gdLst>
                  <a:gd name="T0" fmla="*/ 6 w 61"/>
                  <a:gd name="T1" fmla="*/ 0 h 110"/>
                  <a:gd name="T2" fmla="*/ 0 w 61"/>
                  <a:gd name="T3" fmla="*/ 7 h 110"/>
                  <a:gd name="T4" fmla="*/ 48 w 61"/>
                  <a:gd name="T5" fmla="*/ 55 h 110"/>
                  <a:gd name="T6" fmla="*/ 0 w 61"/>
                  <a:gd name="T7" fmla="*/ 104 h 110"/>
                  <a:gd name="T8" fmla="*/ 6 w 61"/>
                  <a:gd name="T9" fmla="*/ 110 h 110"/>
                  <a:gd name="T10" fmla="*/ 54 w 61"/>
                  <a:gd name="T11" fmla="*/ 62 h 110"/>
                  <a:gd name="T12" fmla="*/ 61 w 61"/>
                  <a:gd name="T13" fmla="*/ 55 h 110"/>
                  <a:gd name="T14" fmla="*/ 54 w 61"/>
                  <a:gd name="T15" fmla="*/ 49 h 110"/>
                  <a:gd name="T16" fmla="*/ 6 w 61"/>
                  <a:gd name="T17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1" h="110">
                    <a:moveTo>
                      <a:pt x="6" y="0"/>
                    </a:moveTo>
                    <a:lnTo>
                      <a:pt x="0" y="7"/>
                    </a:lnTo>
                    <a:lnTo>
                      <a:pt x="48" y="55"/>
                    </a:lnTo>
                    <a:lnTo>
                      <a:pt x="0" y="104"/>
                    </a:lnTo>
                    <a:lnTo>
                      <a:pt x="6" y="110"/>
                    </a:lnTo>
                    <a:lnTo>
                      <a:pt x="54" y="62"/>
                    </a:lnTo>
                    <a:lnTo>
                      <a:pt x="61" y="55"/>
                    </a:lnTo>
                    <a:lnTo>
                      <a:pt x="54" y="49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05" name="Group 204"/>
            <p:cNvGrpSpPr/>
            <p:nvPr/>
          </p:nvGrpSpPr>
          <p:grpSpPr>
            <a:xfrm>
              <a:off x="3849314" y="4464755"/>
              <a:ext cx="232541" cy="232541"/>
              <a:chOff x="982662" y="1847850"/>
              <a:chExt cx="269875" cy="269875"/>
            </a:xfrm>
          </p:grpSpPr>
          <p:sp>
            <p:nvSpPr>
              <p:cNvPr id="212" name="Oval 50"/>
              <p:cNvSpPr>
                <a:spLocks noChangeArrowheads="1"/>
              </p:cNvSpPr>
              <p:nvPr/>
            </p:nvSpPr>
            <p:spPr bwMode="auto">
              <a:xfrm>
                <a:off x="982662" y="1847850"/>
                <a:ext cx="269875" cy="269875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13" name="Freeform 51"/>
              <p:cNvSpPr>
                <a:spLocks/>
              </p:cNvSpPr>
              <p:nvPr/>
            </p:nvSpPr>
            <p:spPr bwMode="auto">
              <a:xfrm>
                <a:off x="1082675" y="1895475"/>
                <a:ext cx="96837" cy="174625"/>
              </a:xfrm>
              <a:custGeom>
                <a:avLst/>
                <a:gdLst>
                  <a:gd name="T0" fmla="*/ 6 w 61"/>
                  <a:gd name="T1" fmla="*/ 0 h 110"/>
                  <a:gd name="T2" fmla="*/ 0 w 61"/>
                  <a:gd name="T3" fmla="*/ 7 h 110"/>
                  <a:gd name="T4" fmla="*/ 48 w 61"/>
                  <a:gd name="T5" fmla="*/ 55 h 110"/>
                  <a:gd name="T6" fmla="*/ 0 w 61"/>
                  <a:gd name="T7" fmla="*/ 104 h 110"/>
                  <a:gd name="T8" fmla="*/ 6 w 61"/>
                  <a:gd name="T9" fmla="*/ 110 h 110"/>
                  <a:gd name="T10" fmla="*/ 54 w 61"/>
                  <a:gd name="T11" fmla="*/ 62 h 110"/>
                  <a:gd name="T12" fmla="*/ 61 w 61"/>
                  <a:gd name="T13" fmla="*/ 55 h 110"/>
                  <a:gd name="T14" fmla="*/ 54 w 61"/>
                  <a:gd name="T15" fmla="*/ 49 h 110"/>
                  <a:gd name="T16" fmla="*/ 6 w 61"/>
                  <a:gd name="T17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1" h="110">
                    <a:moveTo>
                      <a:pt x="6" y="0"/>
                    </a:moveTo>
                    <a:lnTo>
                      <a:pt x="0" y="7"/>
                    </a:lnTo>
                    <a:lnTo>
                      <a:pt x="48" y="55"/>
                    </a:lnTo>
                    <a:lnTo>
                      <a:pt x="0" y="104"/>
                    </a:lnTo>
                    <a:lnTo>
                      <a:pt x="6" y="110"/>
                    </a:lnTo>
                    <a:lnTo>
                      <a:pt x="54" y="62"/>
                    </a:lnTo>
                    <a:lnTo>
                      <a:pt x="61" y="55"/>
                    </a:lnTo>
                    <a:lnTo>
                      <a:pt x="54" y="49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06" name="Group 205"/>
            <p:cNvGrpSpPr/>
            <p:nvPr/>
          </p:nvGrpSpPr>
          <p:grpSpPr>
            <a:xfrm>
              <a:off x="3849314" y="3410219"/>
              <a:ext cx="232541" cy="232541"/>
              <a:chOff x="982662" y="1847850"/>
              <a:chExt cx="269875" cy="269875"/>
            </a:xfrm>
          </p:grpSpPr>
          <p:sp>
            <p:nvSpPr>
              <p:cNvPr id="210" name="Oval 50"/>
              <p:cNvSpPr>
                <a:spLocks noChangeArrowheads="1"/>
              </p:cNvSpPr>
              <p:nvPr/>
            </p:nvSpPr>
            <p:spPr bwMode="auto">
              <a:xfrm>
                <a:off x="982662" y="1847850"/>
                <a:ext cx="269875" cy="269875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11" name="Freeform 51"/>
              <p:cNvSpPr>
                <a:spLocks/>
              </p:cNvSpPr>
              <p:nvPr/>
            </p:nvSpPr>
            <p:spPr bwMode="auto">
              <a:xfrm>
                <a:off x="1082675" y="1895475"/>
                <a:ext cx="96837" cy="174625"/>
              </a:xfrm>
              <a:custGeom>
                <a:avLst/>
                <a:gdLst>
                  <a:gd name="T0" fmla="*/ 6 w 61"/>
                  <a:gd name="T1" fmla="*/ 0 h 110"/>
                  <a:gd name="T2" fmla="*/ 0 w 61"/>
                  <a:gd name="T3" fmla="*/ 7 h 110"/>
                  <a:gd name="T4" fmla="*/ 48 w 61"/>
                  <a:gd name="T5" fmla="*/ 55 h 110"/>
                  <a:gd name="T6" fmla="*/ 0 w 61"/>
                  <a:gd name="T7" fmla="*/ 104 h 110"/>
                  <a:gd name="T8" fmla="*/ 6 w 61"/>
                  <a:gd name="T9" fmla="*/ 110 h 110"/>
                  <a:gd name="T10" fmla="*/ 54 w 61"/>
                  <a:gd name="T11" fmla="*/ 62 h 110"/>
                  <a:gd name="T12" fmla="*/ 61 w 61"/>
                  <a:gd name="T13" fmla="*/ 55 h 110"/>
                  <a:gd name="T14" fmla="*/ 54 w 61"/>
                  <a:gd name="T15" fmla="*/ 49 h 110"/>
                  <a:gd name="T16" fmla="*/ 6 w 61"/>
                  <a:gd name="T17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1" h="110">
                    <a:moveTo>
                      <a:pt x="6" y="0"/>
                    </a:moveTo>
                    <a:lnTo>
                      <a:pt x="0" y="7"/>
                    </a:lnTo>
                    <a:lnTo>
                      <a:pt x="48" y="55"/>
                    </a:lnTo>
                    <a:lnTo>
                      <a:pt x="0" y="104"/>
                    </a:lnTo>
                    <a:lnTo>
                      <a:pt x="6" y="110"/>
                    </a:lnTo>
                    <a:lnTo>
                      <a:pt x="54" y="62"/>
                    </a:lnTo>
                    <a:lnTo>
                      <a:pt x="61" y="55"/>
                    </a:lnTo>
                    <a:lnTo>
                      <a:pt x="54" y="49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chemeClr val="bg1"/>
                  </a:solidFill>
                </a:endParaRPr>
              </a:p>
            </p:txBody>
          </p:sp>
        </p:grpSp>
        <p:grpSp>
          <p:nvGrpSpPr>
            <p:cNvPr id="207" name="Group 206"/>
            <p:cNvGrpSpPr/>
            <p:nvPr/>
          </p:nvGrpSpPr>
          <p:grpSpPr>
            <a:xfrm>
              <a:off x="3849314" y="5543062"/>
              <a:ext cx="232541" cy="232541"/>
              <a:chOff x="982662" y="1847850"/>
              <a:chExt cx="269875" cy="269875"/>
            </a:xfrm>
          </p:grpSpPr>
          <p:sp>
            <p:nvSpPr>
              <p:cNvPr id="208" name="Oval 50"/>
              <p:cNvSpPr>
                <a:spLocks noChangeArrowheads="1"/>
              </p:cNvSpPr>
              <p:nvPr/>
            </p:nvSpPr>
            <p:spPr bwMode="auto">
              <a:xfrm>
                <a:off x="982662" y="1847850"/>
                <a:ext cx="269875" cy="269875"/>
              </a:xfrm>
              <a:prstGeom prst="ellipse">
                <a:avLst/>
              </a:prstGeom>
              <a:solidFill>
                <a:schemeClr val="tx2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chemeClr val="bg1"/>
                  </a:solidFill>
                </a:endParaRPr>
              </a:p>
            </p:txBody>
          </p:sp>
          <p:sp>
            <p:nvSpPr>
              <p:cNvPr id="209" name="Freeform 51"/>
              <p:cNvSpPr>
                <a:spLocks/>
              </p:cNvSpPr>
              <p:nvPr/>
            </p:nvSpPr>
            <p:spPr bwMode="auto">
              <a:xfrm>
                <a:off x="1082675" y="1895475"/>
                <a:ext cx="96837" cy="174625"/>
              </a:xfrm>
              <a:custGeom>
                <a:avLst/>
                <a:gdLst>
                  <a:gd name="T0" fmla="*/ 6 w 61"/>
                  <a:gd name="T1" fmla="*/ 0 h 110"/>
                  <a:gd name="T2" fmla="*/ 0 w 61"/>
                  <a:gd name="T3" fmla="*/ 7 h 110"/>
                  <a:gd name="T4" fmla="*/ 48 w 61"/>
                  <a:gd name="T5" fmla="*/ 55 h 110"/>
                  <a:gd name="T6" fmla="*/ 0 w 61"/>
                  <a:gd name="T7" fmla="*/ 104 h 110"/>
                  <a:gd name="T8" fmla="*/ 6 w 61"/>
                  <a:gd name="T9" fmla="*/ 110 h 110"/>
                  <a:gd name="T10" fmla="*/ 54 w 61"/>
                  <a:gd name="T11" fmla="*/ 62 h 110"/>
                  <a:gd name="T12" fmla="*/ 61 w 61"/>
                  <a:gd name="T13" fmla="*/ 55 h 110"/>
                  <a:gd name="T14" fmla="*/ 54 w 61"/>
                  <a:gd name="T15" fmla="*/ 49 h 110"/>
                  <a:gd name="T16" fmla="*/ 6 w 61"/>
                  <a:gd name="T17" fmla="*/ 0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1" h="110">
                    <a:moveTo>
                      <a:pt x="6" y="0"/>
                    </a:moveTo>
                    <a:lnTo>
                      <a:pt x="0" y="7"/>
                    </a:lnTo>
                    <a:lnTo>
                      <a:pt x="48" y="55"/>
                    </a:lnTo>
                    <a:lnTo>
                      <a:pt x="0" y="104"/>
                    </a:lnTo>
                    <a:lnTo>
                      <a:pt x="6" y="110"/>
                    </a:lnTo>
                    <a:lnTo>
                      <a:pt x="54" y="62"/>
                    </a:lnTo>
                    <a:lnTo>
                      <a:pt x="61" y="55"/>
                    </a:lnTo>
                    <a:lnTo>
                      <a:pt x="54" y="49"/>
                    </a:lnTo>
                    <a:lnTo>
                      <a:pt x="6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  <a:extLst/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>
                  <a:solidFill>
                    <a:schemeClr val="bg1"/>
                  </a:solidFill>
                </a:endParaRPr>
              </a:p>
            </p:txBody>
          </p:sp>
        </p:grpSp>
      </p:grpSp>
      <p:sp>
        <p:nvSpPr>
          <p:cNvPr id="216" name="Rectangle 215"/>
          <p:cNvSpPr/>
          <p:nvPr/>
        </p:nvSpPr>
        <p:spPr>
          <a:xfrm rot="16200000">
            <a:off x="-575287" y="2910723"/>
            <a:ext cx="3002235" cy="384363"/>
          </a:xfrm>
          <a:prstGeom prst="rect">
            <a:avLst/>
          </a:prstGeom>
          <a:solidFill>
            <a:srgbClr val="F2F2F2"/>
          </a:solidFill>
          <a:ln w="9525" cap="rnd" cmpd="sng" algn="ctr">
            <a:solidFill>
              <a:srgbClr val="29BA74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900" dirty="0">
                <a:solidFill>
                  <a:srgbClr val="575757"/>
                </a:solidFill>
              </a:rPr>
              <a:t>Правила доступа/ Лицензирование</a:t>
            </a:r>
          </a:p>
        </p:txBody>
      </p:sp>
      <p:grpSp>
        <p:nvGrpSpPr>
          <p:cNvPr id="217" name="bcgIcons_Inventory">
            <a:extLst>
              <a:ext uri="{FF2B5EF4-FFF2-40B4-BE49-F238E27FC236}">
                <a16:creationId xmlns:a16="http://schemas.microsoft.com/office/drawing/2014/main" xmlns="" id="{DAB02D19-CEEB-4AD1-AE04-9E8CC1ED73D2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701344" y="1685041"/>
            <a:ext cx="431777" cy="419799"/>
            <a:chOff x="1682" y="0"/>
            <a:chExt cx="4316" cy="4320"/>
          </a:xfrm>
        </p:grpSpPr>
        <p:sp>
          <p:nvSpPr>
            <p:cNvPr id="218" name="AutoShape 33">
              <a:extLst>
                <a:ext uri="{FF2B5EF4-FFF2-40B4-BE49-F238E27FC236}">
                  <a16:creationId xmlns:a16="http://schemas.microsoft.com/office/drawing/2014/main" xmlns="" id="{BD922637-C26B-4867-AEDD-A5CCE00B97DF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1682" y="0"/>
              <a:ext cx="4316" cy="43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19" name="Freeform 35">
              <a:extLst>
                <a:ext uri="{FF2B5EF4-FFF2-40B4-BE49-F238E27FC236}">
                  <a16:creationId xmlns:a16="http://schemas.microsoft.com/office/drawing/2014/main" xmlns="" id="{A34A23C4-990B-4C12-8C89-5A542654B9B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66" y="307"/>
              <a:ext cx="1544" cy="2909"/>
            </a:xfrm>
            <a:custGeom>
              <a:avLst/>
              <a:gdLst>
                <a:gd name="T0" fmla="*/ 538 w 824"/>
                <a:gd name="T1" fmla="*/ 94 h 1551"/>
                <a:gd name="T2" fmla="*/ 286 w 824"/>
                <a:gd name="T3" fmla="*/ 94 h 1551"/>
                <a:gd name="T4" fmla="*/ 206 w 824"/>
                <a:gd name="T5" fmla="*/ 104 h 1551"/>
                <a:gd name="T6" fmla="*/ 228 w 824"/>
                <a:gd name="T7" fmla="*/ 275 h 1551"/>
                <a:gd name="T8" fmla="*/ 618 w 824"/>
                <a:gd name="T9" fmla="*/ 253 h 1551"/>
                <a:gd name="T10" fmla="*/ 608 w 824"/>
                <a:gd name="T11" fmla="*/ 94 h 1551"/>
                <a:gd name="T12" fmla="*/ 491 w 824"/>
                <a:gd name="T13" fmla="*/ 94 h 1551"/>
                <a:gd name="T14" fmla="*/ 412 w 824"/>
                <a:gd name="T15" fmla="*/ 44 h 1551"/>
                <a:gd name="T16" fmla="*/ 399 w 824"/>
                <a:gd name="T17" fmla="*/ 600 h 1551"/>
                <a:gd name="T18" fmla="*/ 399 w 824"/>
                <a:gd name="T19" fmla="*/ 556 h 1551"/>
                <a:gd name="T20" fmla="*/ 824 w 824"/>
                <a:gd name="T21" fmla="*/ 578 h 1551"/>
                <a:gd name="T22" fmla="*/ 802 w 824"/>
                <a:gd name="T23" fmla="*/ 742 h 1551"/>
                <a:gd name="T24" fmla="*/ 377 w 824"/>
                <a:gd name="T25" fmla="*/ 720 h 1551"/>
                <a:gd name="T26" fmla="*/ 802 w 824"/>
                <a:gd name="T27" fmla="*/ 698 h 1551"/>
                <a:gd name="T28" fmla="*/ 802 w 824"/>
                <a:gd name="T29" fmla="*/ 742 h 1551"/>
                <a:gd name="T30" fmla="*/ 399 w 824"/>
                <a:gd name="T31" fmla="*/ 1394 h 1551"/>
                <a:gd name="T32" fmla="*/ 399 w 824"/>
                <a:gd name="T33" fmla="*/ 1350 h 1551"/>
                <a:gd name="T34" fmla="*/ 824 w 824"/>
                <a:gd name="T35" fmla="*/ 1372 h 1551"/>
                <a:gd name="T36" fmla="*/ 802 w 824"/>
                <a:gd name="T37" fmla="*/ 1535 h 1551"/>
                <a:gd name="T38" fmla="*/ 377 w 824"/>
                <a:gd name="T39" fmla="*/ 1513 h 1551"/>
                <a:gd name="T40" fmla="*/ 802 w 824"/>
                <a:gd name="T41" fmla="*/ 1491 h 1551"/>
                <a:gd name="T42" fmla="*/ 802 w 824"/>
                <a:gd name="T43" fmla="*/ 1535 h 1551"/>
                <a:gd name="T44" fmla="*/ 399 w 824"/>
                <a:gd name="T45" fmla="*/ 997 h 1551"/>
                <a:gd name="T46" fmla="*/ 399 w 824"/>
                <a:gd name="T47" fmla="*/ 953 h 1551"/>
                <a:gd name="T48" fmla="*/ 824 w 824"/>
                <a:gd name="T49" fmla="*/ 975 h 1551"/>
                <a:gd name="T50" fmla="*/ 802 w 824"/>
                <a:gd name="T51" fmla="*/ 1139 h 1551"/>
                <a:gd name="T52" fmla="*/ 377 w 824"/>
                <a:gd name="T53" fmla="*/ 1117 h 1551"/>
                <a:gd name="T54" fmla="*/ 802 w 824"/>
                <a:gd name="T55" fmla="*/ 1095 h 1551"/>
                <a:gd name="T56" fmla="*/ 802 w 824"/>
                <a:gd name="T57" fmla="*/ 1139 h 1551"/>
                <a:gd name="T58" fmla="*/ 216 w 824"/>
                <a:gd name="T59" fmla="*/ 737 h 1551"/>
                <a:gd name="T60" fmla="*/ 22 w 824"/>
                <a:gd name="T61" fmla="*/ 759 h 1551"/>
                <a:gd name="T62" fmla="*/ 0 w 824"/>
                <a:gd name="T63" fmla="*/ 565 h 1551"/>
                <a:gd name="T64" fmla="*/ 152 w 824"/>
                <a:gd name="T65" fmla="*/ 543 h 1551"/>
                <a:gd name="T66" fmla="*/ 44 w 824"/>
                <a:gd name="T67" fmla="*/ 587 h 1551"/>
                <a:gd name="T68" fmla="*/ 172 w 824"/>
                <a:gd name="T69" fmla="*/ 715 h 1551"/>
                <a:gd name="T70" fmla="*/ 216 w 824"/>
                <a:gd name="T71" fmla="*/ 665 h 1551"/>
                <a:gd name="T72" fmla="*/ 216 w 824"/>
                <a:gd name="T73" fmla="*/ 1136 h 1551"/>
                <a:gd name="T74" fmla="*/ 22 w 824"/>
                <a:gd name="T75" fmla="*/ 1158 h 1551"/>
                <a:gd name="T76" fmla="*/ 0 w 824"/>
                <a:gd name="T77" fmla="*/ 964 h 1551"/>
                <a:gd name="T78" fmla="*/ 152 w 824"/>
                <a:gd name="T79" fmla="*/ 942 h 1551"/>
                <a:gd name="T80" fmla="*/ 44 w 824"/>
                <a:gd name="T81" fmla="*/ 986 h 1551"/>
                <a:gd name="T82" fmla="*/ 172 w 824"/>
                <a:gd name="T83" fmla="*/ 1114 h 1551"/>
                <a:gd name="T84" fmla="*/ 216 w 824"/>
                <a:gd name="T85" fmla="*/ 1064 h 1551"/>
                <a:gd name="T86" fmla="*/ 216 w 824"/>
                <a:gd name="T87" fmla="*/ 1529 h 1551"/>
                <a:gd name="T88" fmla="*/ 22 w 824"/>
                <a:gd name="T89" fmla="*/ 1551 h 1551"/>
                <a:gd name="T90" fmla="*/ 0 w 824"/>
                <a:gd name="T91" fmla="*/ 1357 h 1551"/>
                <a:gd name="T92" fmla="*/ 152 w 824"/>
                <a:gd name="T93" fmla="*/ 1335 h 1551"/>
                <a:gd name="T94" fmla="*/ 44 w 824"/>
                <a:gd name="T95" fmla="*/ 1379 h 1551"/>
                <a:gd name="T96" fmla="*/ 172 w 824"/>
                <a:gd name="T97" fmla="*/ 1507 h 1551"/>
                <a:gd name="T98" fmla="*/ 216 w 824"/>
                <a:gd name="T99" fmla="*/ 1457 h 1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24" h="1551">
                  <a:moveTo>
                    <a:pt x="608" y="94"/>
                  </a:moveTo>
                  <a:cubicBezTo>
                    <a:pt x="538" y="94"/>
                    <a:pt x="538" y="94"/>
                    <a:pt x="538" y="94"/>
                  </a:cubicBezTo>
                  <a:cubicBezTo>
                    <a:pt x="522" y="39"/>
                    <a:pt x="471" y="0"/>
                    <a:pt x="412" y="0"/>
                  </a:cubicBezTo>
                  <a:cubicBezTo>
                    <a:pt x="353" y="0"/>
                    <a:pt x="302" y="39"/>
                    <a:pt x="286" y="94"/>
                  </a:cubicBezTo>
                  <a:cubicBezTo>
                    <a:pt x="216" y="94"/>
                    <a:pt x="216" y="94"/>
                    <a:pt x="216" y="94"/>
                  </a:cubicBezTo>
                  <a:cubicBezTo>
                    <a:pt x="210" y="94"/>
                    <a:pt x="206" y="98"/>
                    <a:pt x="206" y="104"/>
                  </a:cubicBezTo>
                  <a:cubicBezTo>
                    <a:pt x="206" y="253"/>
                    <a:pt x="206" y="253"/>
                    <a:pt x="206" y="253"/>
                  </a:cubicBezTo>
                  <a:cubicBezTo>
                    <a:pt x="206" y="265"/>
                    <a:pt x="216" y="275"/>
                    <a:pt x="228" y="275"/>
                  </a:cubicBezTo>
                  <a:cubicBezTo>
                    <a:pt x="596" y="275"/>
                    <a:pt x="596" y="275"/>
                    <a:pt x="596" y="275"/>
                  </a:cubicBezTo>
                  <a:cubicBezTo>
                    <a:pt x="608" y="275"/>
                    <a:pt x="618" y="265"/>
                    <a:pt x="618" y="253"/>
                  </a:cubicBezTo>
                  <a:cubicBezTo>
                    <a:pt x="618" y="104"/>
                    <a:pt x="618" y="104"/>
                    <a:pt x="618" y="104"/>
                  </a:cubicBezTo>
                  <a:cubicBezTo>
                    <a:pt x="618" y="98"/>
                    <a:pt x="614" y="94"/>
                    <a:pt x="608" y="94"/>
                  </a:cubicBezTo>
                  <a:close/>
                  <a:moveTo>
                    <a:pt x="412" y="44"/>
                  </a:moveTo>
                  <a:cubicBezTo>
                    <a:pt x="447" y="44"/>
                    <a:pt x="477" y="64"/>
                    <a:pt x="491" y="94"/>
                  </a:cubicBezTo>
                  <a:cubicBezTo>
                    <a:pt x="333" y="94"/>
                    <a:pt x="333" y="94"/>
                    <a:pt x="333" y="94"/>
                  </a:cubicBezTo>
                  <a:cubicBezTo>
                    <a:pt x="347" y="64"/>
                    <a:pt x="377" y="44"/>
                    <a:pt x="412" y="44"/>
                  </a:cubicBezTo>
                  <a:close/>
                  <a:moveTo>
                    <a:pt x="802" y="600"/>
                  </a:moveTo>
                  <a:cubicBezTo>
                    <a:pt x="399" y="600"/>
                    <a:pt x="399" y="600"/>
                    <a:pt x="399" y="600"/>
                  </a:cubicBezTo>
                  <a:cubicBezTo>
                    <a:pt x="387" y="600"/>
                    <a:pt x="377" y="590"/>
                    <a:pt x="377" y="578"/>
                  </a:cubicBezTo>
                  <a:cubicBezTo>
                    <a:pt x="377" y="566"/>
                    <a:pt x="387" y="556"/>
                    <a:pt x="399" y="556"/>
                  </a:cubicBezTo>
                  <a:cubicBezTo>
                    <a:pt x="802" y="556"/>
                    <a:pt x="802" y="556"/>
                    <a:pt x="802" y="556"/>
                  </a:cubicBezTo>
                  <a:cubicBezTo>
                    <a:pt x="814" y="556"/>
                    <a:pt x="824" y="566"/>
                    <a:pt x="824" y="578"/>
                  </a:cubicBezTo>
                  <a:cubicBezTo>
                    <a:pt x="824" y="590"/>
                    <a:pt x="814" y="600"/>
                    <a:pt x="802" y="600"/>
                  </a:cubicBezTo>
                  <a:close/>
                  <a:moveTo>
                    <a:pt x="802" y="742"/>
                  </a:moveTo>
                  <a:cubicBezTo>
                    <a:pt x="399" y="742"/>
                    <a:pt x="399" y="742"/>
                    <a:pt x="399" y="742"/>
                  </a:cubicBezTo>
                  <a:cubicBezTo>
                    <a:pt x="387" y="742"/>
                    <a:pt x="377" y="732"/>
                    <a:pt x="377" y="720"/>
                  </a:cubicBezTo>
                  <a:cubicBezTo>
                    <a:pt x="377" y="708"/>
                    <a:pt x="387" y="698"/>
                    <a:pt x="399" y="698"/>
                  </a:cubicBezTo>
                  <a:cubicBezTo>
                    <a:pt x="802" y="698"/>
                    <a:pt x="802" y="698"/>
                    <a:pt x="802" y="698"/>
                  </a:cubicBezTo>
                  <a:cubicBezTo>
                    <a:pt x="814" y="698"/>
                    <a:pt x="824" y="708"/>
                    <a:pt x="824" y="720"/>
                  </a:cubicBezTo>
                  <a:cubicBezTo>
                    <a:pt x="824" y="732"/>
                    <a:pt x="814" y="742"/>
                    <a:pt x="802" y="742"/>
                  </a:cubicBezTo>
                  <a:close/>
                  <a:moveTo>
                    <a:pt x="802" y="1394"/>
                  </a:moveTo>
                  <a:cubicBezTo>
                    <a:pt x="399" y="1394"/>
                    <a:pt x="399" y="1394"/>
                    <a:pt x="399" y="1394"/>
                  </a:cubicBezTo>
                  <a:cubicBezTo>
                    <a:pt x="387" y="1394"/>
                    <a:pt x="377" y="1384"/>
                    <a:pt x="377" y="1372"/>
                  </a:cubicBezTo>
                  <a:cubicBezTo>
                    <a:pt x="377" y="1359"/>
                    <a:pt x="387" y="1350"/>
                    <a:pt x="399" y="1350"/>
                  </a:cubicBezTo>
                  <a:cubicBezTo>
                    <a:pt x="802" y="1350"/>
                    <a:pt x="802" y="1350"/>
                    <a:pt x="802" y="1350"/>
                  </a:cubicBezTo>
                  <a:cubicBezTo>
                    <a:pt x="814" y="1350"/>
                    <a:pt x="824" y="1359"/>
                    <a:pt x="824" y="1372"/>
                  </a:cubicBezTo>
                  <a:cubicBezTo>
                    <a:pt x="824" y="1384"/>
                    <a:pt x="814" y="1394"/>
                    <a:pt x="802" y="1394"/>
                  </a:cubicBezTo>
                  <a:close/>
                  <a:moveTo>
                    <a:pt x="802" y="1535"/>
                  </a:moveTo>
                  <a:cubicBezTo>
                    <a:pt x="399" y="1535"/>
                    <a:pt x="399" y="1535"/>
                    <a:pt x="399" y="1535"/>
                  </a:cubicBezTo>
                  <a:cubicBezTo>
                    <a:pt x="387" y="1535"/>
                    <a:pt x="377" y="1525"/>
                    <a:pt x="377" y="1513"/>
                  </a:cubicBezTo>
                  <a:cubicBezTo>
                    <a:pt x="377" y="1501"/>
                    <a:pt x="387" y="1491"/>
                    <a:pt x="399" y="1491"/>
                  </a:cubicBezTo>
                  <a:cubicBezTo>
                    <a:pt x="802" y="1491"/>
                    <a:pt x="802" y="1491"/>
                    <a:pt x="802" y="1491"/>
                  </a:cubicBezTo>
                  <a:cubicBezTo>
                    <a:pt x="814" y="1491"/>
                    <a:pt x="824" y="1501"/>
                    <a:pt x="824" y="1513"/>
                  </a:cubicBezTo>
                  <a:cubicBezTo>
                    <a:pt x="824" y="1525"/>
                    <a:pt x="814" y="1535"/>
                    <a:pt x="802" y="1535"/>
                  </a:cubicBezTo>
                  <a:close/>
                  <a:moveTo>
                    <a:pt x="802" y="997"/>
                  </a:moveTo>
                  <a:cubicBezTo>
                    <a:pt x="399" y="997"/>
                    <a:pt x="399" y="997"/>
                    <a:pt x="399" y="997"/>
                  </a:cubicBezTo>
                  <a:cubicBezTo>
                    <a:pt x="387" y="997"/>
                    <a:pt x="377" y="987"/>
                    <a:pt x="377" y="975"/>
                  </a:cubicBezTo>
                  <a:cubicBezTo>
                    <a:pt x="377" y="963"/>
                    <a:pt x="387" y="953"/>
                    <a:pt x="399" y="953"/>
                  </a:cubicBezTo>
                  <a:cubicBezTo>
                    <a:pt x="802" y="953"/>
                    <a:pt x="802" y="953"/>
                    <a:pt x="802" y="953"/>
                  </a:cubicBezTo>
                  <a:cubicBezTo>
                    <a:pt x="814" y="953"/>
                    <a:pt x="824" y="963"/>
                    <a:pt x="824" y="975"/>
                  </a:cubicBezTo>
                  <a:cubicBezTo>
                    <a:pt x="824" y="987"/>
                    <a:pt x="814" y="997"/>
                    <a:pt x="802" y="997"/>
                  </a:cubicBezTo>
                  <a:close/>
                  <a:moveTo>
                    <a:pt x="802" y="1139"/>
                  </a:moveTo>
                  <a:cubicBezTo>
                    <a:pt x="399" y="1139"/>
                    <a:pt x="399" y="1139"/>
                    <a:pt x="399" y="1139"/>
                  </a:cubicBezTo>
                  <a:cubicBezTo>
                    <a:pt x="387" y="1139"/>
                    <a:pt x="377" y="1129"/>
                    <a:pt x="377" y="1117"/>
                  </a:cubicBezTo>
                  <a:cubicBezTo>
                    <a:pt x="377" y="1104"/>
                    <a:pt x="387" y="1095"/>
                    <a:pt x="399" y="1095"/>
                  </a:cubicBezTo>
                  <a:cubicBezTo>
                    <a:pt x="802" y="1095"/>
                    <a:pt x="802" y="1095"/>
                    <a:pt x="802" y="1095"/>
                  </a:cubicBezTo>
                  <a:cubicBezTo>
                    <a:pt x="814" y="1095"/>
                    <a:pt x="824" y="1104"/>
                    <a:pt x="824" y="1117"/>
                  </a:cubicBezTo>
                  <a:cubicBezTo>
                    <a:pt x="824" y="1129"/>
                    <a:pt x="814" y="1139"/>
                    <a:pt x="802" y="1139"/>
                  </a:cubicBezTo>
                  <a:close/>
                  <a:moveTo>
                    <a:pt x="216" y="665"/>
                  </a:moveTo>
                  <a:cubicBezTo>
                    <a:pt x="216" y="737"/>
                    <a:pt x="216" y="737"/>
                    <a:pt x="216" y="737"/>
                  </a:cubicBezTo>
                  <a:cubicBezTo>
                    <a:pt x="216" y="749"/>
                    <a:pt x="206" y="759"/>
                    <a:pt x="194" y="759"/>
                  </a:cubicBezTo>
                  <a:cubicBezTo>
                    <a:pt x="22" y="759"/>
                    <a:pt x="22" y="759"/>
                    <a:pt x="22" y="759"/>
                  </a:cubicBezTo>
                  <a:cubicBezTo>
                    <a:pt x="10" y="759"/>
                    <a:pt x="0" y="749"/>
                    <a:pt x="0" y="737"/>
                  </a:cubicBezTo>
                  <a:cubicBezTo>
                    <a:pt x="0" y="565"/>
                    <a:pt x="0" y="565"/>
                    <a:pt x="0" y="565"/>
                  </a:cubicBezTo>
                  <a:cubicBezTo>
                    <a:pt x="0" y="553"/>
                    <a:pt x="10" y="543"/>
                    <a:pt x="22" y="543"/>
                  </a:cubicBezTo>
                  <a:cubicBezTo>
                    <a:pt x="152" y="543"/>
                    <a:pt x="152" y="543"/>
                    <a:pt x="152" y="543"/>
                  </a:cubicBezTo>
                  <a:cubicBezTo>
                    <a:pt x="108" y="587"/>
                    <a:pt x="108" y="587"/>
                    <a:pt x="108" y="587"/>
                  </a:cubicBezTo>
                  <a:cubicBezTo>
                    <a:pt x="44" y="587"/>
                    <a:pt x="44" y="587"/>
                    <a:pt x="44" y="587"/>
                  </a:cubicBezTo>
                  <a:cubicBezTo>
                    <a:pt x="44" y="715"/>
                    <a:pt x="44" y="715"/>
                    <a:pt x="44" y="715"/>
                  </a:cubicBezTo>
                  <a:cubicBezTo>
                    <a:pt x="172" y="715"/>
                    <a:pt x="172" y="715"/>
                    <a:pt x="172" y="715"/>
                  </a:cubicBezTo>
                  <a:cubicBezTo>
                    <a:pt x="172" y="709"/>
                    <a:pt x="172" y="709"/>
                    <a:pt x="172" y="709"/>
                  </a:cubicBezTo>
                  <a:lnTo>
                    <a:pt x="216" y="665"/>
                  </a:lnTo>
                  <a:close/>
                  <a:moveTo>
                    <a:pt x="216" y="1064"/>
                  </a:moveTo>
                  <a:cubicBezTo>
                    <a:pt x="216" y="1136"/>
                    <a:pt x="216" y="1136"/>
                    <a:pt x="216" y="1136"/>
                  </a:cubicBezTo>
                  <a:cubicBezTo>
                    <a:pt x="216" y="1148"/>
                    <a:pt x="206" y="1158"/>
                    <a:pt x="194" y="1158"/>
                  </a:cubicBezTo>
                  <a:cubicBezTo>
                    <a:pt x="22" y="1158"/>
                    <a:pt x="22" y="1158"/>
                    <a:pt x="22" y="1158"/>
                  </a:cubicBezTo>
                  <a:cubicBezTo>
                    <a:pt x="10" y="1158"/>
                    <a:pt x="0" y="1148"/>
                    <a:pt x="0" y="1136"/>
                  </a:cubicBezTo>
                  <a:cubicBezTo>
                    <a:pt x="0" y="964"/>
                    <a:pt x="0" y="964"/>
                    <a:pt x="0" y="964"/>
                  </a:cubicBezTo>
                  <a:cubicBezTo>
                    <a:pt x="0" y="952"/>
                    <a:pt x="10" y="942"/>
                    <a:pt x="22" y="942"/>
                  </a:cubicBezTo>
                  <a:cubicBezTo>
                    <a:pt x="152" y="942"/>
                    <a:pt x="152" y="942"/>
                    <a:pt x="152" y="942"/>
                  </a:cubicBezTo>
                  <a:cubicBezTo>
                    <a:pt x="108" y="986"/>
                    <a:pt x="108" y="986"/>
                    <a:pt x="108" y="986"/>
                  </a:cubicBezTo>
                  <a:cubicBezTo>
                    <a:pt x="44" y="986"/>
                    <a:pt x="44" y="986"/>
                    <a:pt x="44" y="986"/>
                  </a:cubicBezTo>
                  <a:cubicBezTo>
                    <a:pt x="44" y="1114"/>
                    <a:pt x="44" y="1114"/>
                    <a:pt x="44" y="1114"/>
                  </a:cubicBezTo>
                  <a:cubicBezTo>
                    <a:pt x="172" y="1114"/>
                    <a:pt x="172" y="1114"/>
                    <a:pt x="172" y="1114"/>
                  </a:cubicBezTo>
                  <a:cubicBezTo>
                    <a:pt x="172" y="1108"/>
                    <a:pt x="172" y="1108"/>
                    <a:pt x="172" y="1108"/>
                  </a:cubicBezTo>
                  <a:lnTo>
                    <a:pt x="216" y="1064"/>
                  </a:lnTo>
                  <a:close/>
                  <a:moveTo>
                    <a:pt x="216" y="1457"/>
                  </a:moveTo>
                  <a:cubicBezTo>
                    <a:pt x="216" y="1529"/>
                    <a:pt x="216" y="1529"/>
                    <a:pt x="216" y="1529"/>
                  </a:cubicBezTo>
                  <a:cubicBezTo>
                    <a:pt x="216" y="1541"/>
                    <a:pt x="206" y="1551"/>
                    <a:pt x="194" y="1551"/>
                  </a:cubicBezTo>
                  <a:cubicBezTo>
                    <a:pt x="22" y="1551"/>
                    <a:pt x="22" y="1551"/>
                    <a:pt x="22" y="1551"/>
                  </a:cubicBezTo>
                  <a:cubicBezTo>
                    <a:pt x="10" y="1551"/>
                    <a:pt x="0" y="1541"/>
                    <a:pt x="0" y="1529"/>
                  </a:cubicBezTo>
                  <a:cubicBezTo>
                    <a:pt x="0" y="1357"/>
                    <a:pt x="0" y="1357"/>
                    <a:pt x="0" y="1357"/>
                  </a:cubicBezTo>
                  <a:cubicBezTo>
                    <a:pt x="0" y="1345"/>
                    <a:pt x="10" y="1335"/>
                    <a:pt x="22" y="1335"/>
                  </a:cubicBezTo>
                  <a:cubicBezTo>
                    <a:pt x="152" y="1335"/>
                    <a:pt x="152" y="1335"/>
                    <a:pt x="152" y="1335"/>
                  </a:cubicBezTo>
                  <a:cubicBezTo>
                    <a:pt x="108" y="1379"/>
                    <a:pt x="108" y="1379"/>
                    <a:pt x="108" y="1379"/>
                  </a:cubicBezTo>
                  <a:cubicBezTo>
                    <a:pt x="44" y="1379"/>
                    <a:pt x="44" y="1379"/>
                    <a:pt x="44" y="1379"/>
                  </a:cubicBezTo>
                  <a:cubicBezTo>
                    <a:pt x="44" y="1507"/>
                    <a:pt x="44" y="1507"/>
                    <a:pt x="44" y="1507"/>
                  </a:cubicBezTo>
                  <a:cubicBezTo>
                    <a:pt x="172" y="1507"/>
                    <a:pt x="172" y="1507"/>
                    <a:pt x="172" y="1507"/>
                  </a:cubicBezTo>
                  <a:cubicBezTo>
                    <a:pt x="172" y="1501"/>
                    <a:pt x="172" y="1501"/>
                    <a:pt x="172" y="1501"/>
                  </a:cubicBezTo>
                  <a:lnTo>
                    <a:pt x="216" y="1457"/>
                  </a:lnTo>
                  <a:close/>
                </a:path>
              </a:pathLst>
            </a:custGeom>
            <a:solidFill>
              <a:schemeClr val="tx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20" name="Freeform 36">
              <a:extLst>
                <a:ext uri="{FF2B5EF4-FFF2-40B4-BE49-F238E27FC236}">
                  <a16:creationId xmlns:a16="http://schemas.microsoft.com/office/drawing/2014/main" xmlns="" id="{934071E2-D182-4FC3-A3CA-AB2AE7DEBC5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645" y="611"/>
              <a:ext cx="2386" cy="3169"/>
            </a:xfrm>
            <a:custGeom>
              <a:avLst/>
              <a:gdLst>
                <a:gd name="T0" fmla="*/ 1274 w 1274"/>
                <a:gd name="T1" fmla="*/ 22 h 1690"/>
                <a:gd name="T2" fmla="*/ 1274 w 1274"/>
                <a:gd name="T3" fmla="*/ 1668 h 1690"/>
                <a:gd name="T4" fmla="*/ 1252 w 1274"/>
                <a:gd name="T5" fmla="*/ 1690 h 1690"/>
                <a:gd name="T6" fmla="*/ 22 w 1274"/>
                <a:gd name="T7" fmla="*/ 1690 h 1690"/>
                <a:gd name="T8" fmla="*/ 0 w 1274"/>
                <a:gd name="T9" fmla="*/ 1668 h 1690"/>
                <a:gd name="T10" fmla="*/ 0 w 1274"/>
                <a:gd name="T11" fmla="*/ 22 h 1690"/>
                <a:gd name="T12" fmla="*/ 22 w 1274"/>
                <a:gd name="T13" fmla="*/ 0 h 1690"/>
                <a:gd name="T14" fmla="*/ 387 w 1274"/>
                <a:gd name="T15" fmla="*/ 0 h 1690"/>
                <a:gd name="T16" fmla="*/ 387 w 1274"/>
                <a:gd name="T17" fmla="*/ 44 h 1690"/>
                <a:gd name="T18" fmla="*/ 44 w 1274"/>
                <a:gd name="T19" fmla="*/ 44 h 1690"/>
                <a:gd name="T20" fmla="*/ 44 w 1274"/>
                <a:gd name="T21" fmla="*/ 1646 h 1690"/>
                <a:gd name="T22" fmla="*/ 1230 w 1274"/>
                <a:gd name="T23" fmla="*/ 1646 h 1690"/>
                <a:gd name="T24" fmla="*/ 1230 w 1274"/>
                <a:gd name="T25" fmla="*/ 44 h 1690"/>
                <a:gd name="T26" fmla="*/ 887 w 1274"/>
                <a:gd name="T27" fmla="*/ 44 h 1690"/>
                <a:gd name="T28" fmla="*/ 887 w 1274"/>
                <a:gd name="T29" fmla="*/ 0 h 1690"/>
                <a:gd name="T30" fmla="*/ 1252 w 1274"/>
                <a:gd name="T31" fmla="*/ 0 h 1690"/>
                <a:gd name="T32" fmla="*/ 1274 w 1274"/>
                <a:gd name="T33" fmla="*/ 22 h 1690"/>
                <a:gd name="T34" fmla="*/ 362 w 1274"/>
                <a:gd name="T35" fmla="*/ 520 h 1690"/>
                <a:gd name="T36" fmla="*/ 484 w 1274"/>
                <a:gd name="T37" fmla="*/ 397 h 1690"/>
                <a:gd name="T38" fmla="*/ 484 w 1274"/>
                <a:gd name="T39" fmla="*/ 366 h 1690"/>
                <a:gd name="T40" fmla="*/ 453 w 1274"/>
                <a:gd name="T41" fmla="*/ 366 h 1690"/>
                <a:gd name="T42" fmla="*/ 347 w 1274"/>
                <a:gd name="T43" fmla="*/ 473 h 1690"/>
                <a:gd name="T44" fmla="*/ 323 w 1274"/>
                <a:gd name="T45" fmla="*/ 450 h 1690"/>
                <a:gd name="T46" fmla="*/ 292 w 1274"/>
                <a:gd name="T47" fmla="*/ 450 h 1690"/>
                <a:gd name="T48" fmla="*/ 292 w 1274"/>
                <a:gd name="T49" fmla="*/ 481 h 1690"/>
                <a:gd name="T50" fmla="*/ 331 w 1274"/>
                <a:gd name="T51" fmla="*/ 520 h 1690"/>
                <a:gd name="T52" fmla="*/ 347 w 1274"/>
                <a:gd name="T53" fmla="*/ 526 h 1690"/>
                <a:gd name="T54" fmla="*/ 362 w 1274"/>
                <a:gd name="T55" fmla="*/ 520 h 1690"/>
                <a:gd name="T56" fmla="*/ 362 w 1274"/>
                <a:gd name="T57" fmla="*/ 919 h 1690"/>
                <a:gd name="T58" fmla="*/ 484 w 1274"/>
                <a:gd name="T59" fmla="*/ 796 h 1690"/>
                <a:gd name="T60" fmla="*/ 484 w 1274"/>
                <a:gd name="T61" fmla="*/ 765 h 1690"/>
                <a:gd name="T62" fmla="*/ 453 w 1274"/>
                <a:gd name="T63" fmla="*/ 765 h 1690"/>
                <a:gd name="T64" fmla="*/ 347 w 1274"/>
                <a:gd name="T65" fmla="*/ 872 h 1690"/>
                <a:gd name="T66" fmla="*/ 323 w 1274"/>
                <a:gd name="T67" fmla="*/ 849 h 1690"/>
                <a:gd name="T68" fmla="*/ 292 w 1274"/>
                <a:gd name="T69" fmla="*/ 849 h 1690"/>
                <a:gd name="T70" fmla="*/ 292 w 1274"/>
                <a:gd name="T71" fmla="*/ 880 h 1690"/>
                <a:gd name="T72" fmla="*/ 331 w 1274"/>
                <a:gd name="T73" fmla="*/ 919 h 1690"/>
                <a:gd name="T74" fmla="*/ 347 w 1274"/>
                <a:gd name="T75" fmla="*/ 925 h 1690"/>
                <a:gd name="T76" fmla="*/ 362 w 1274"/>
                <a:gd name="T77" fmla="*/ 919 h 1690"/>
                <a:gd name="T78" fmla="*/ 362 w 1274"/>
                <a:gd name="T79" fmla="*/ 1311 h 1690"/>
                <a:gd name="T80" fmla="*/ 484 w 1274"/>
                <a:gd name="T81" fmla="*/ 1189 h 1690"/>
                <a:gd name="T82" fmla="*/ 484 w 1274"/>
                <a:gd name="T83" fmla="*/ 1158 h 1690"/>
                <a:gd name="T84" fmla="*/ 453 w 1274"/>
                <a:gd name="T85" fmla="*/ 1158 h 1690"/>
                <a:gd name="T86" fmla="*/ 347 w 1274"/>
                <a:gd name="T87" fmla="*/ 1265 h 1690"/>
                <a:gd name="T88" fmla="*/ 323 w 1274"/>
                <a:gd name="T89" fmla="*/ 1242 h 1690"/>
                <a:gd name="T90" fmla="*/ 292 w 1274"/>
                <a:gd name="T91" fmla="*/ 1242 h 1690"/>
                <a:gd name="T92" fmla="*/ 292 w 1274"/>
                <a:gd name="T93" fmla="*/ 1273 h 1690"/>
                <a:gd name="T94" fmla="*/ 331 w 1274"/>
                <a:gd name="T95" fmla="*/ 1311 h 1690"/>
                <a:gd name="T96" fmla="*/ 347 w 1274"/>
                <a:gd name="T97" fmla="*/ 1318 h 1690"/>
                <a:gd name="T98" fmla="*/ 362 w 1274"/>
                <a:gd name="T99" fmla="*/ 1311 h 16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274" h="1690">
                  <a:moveTo>
                    <a:pt x="1274" y="22"/>
                  </a:moveTo>
                  <a:cubicBezTo>
                    <a:pt x="1274" y="1668"/>
                    <a:pt x="1274" y="1668"/>
                    <a:pt x="1274" y="1668"/>
                  </a:cubicBezTo>
                  <a:cubicBezTo>
                    <a:pt x="1274" y="1680"/>
                    <a:pt x="1264" y="1690"/>
                    <a:pt x="1252" y="1690"/>
                  </a:cubicBezTo>
                  <a:cubicBezTo>
                    <a:pt x="22" y="1690"/>
                    <a:pt x="22" y="1690"/>
                    <a:pt x="22" y="1690"/>
                  </a:cubicBezTo>
                  <a:cubicBezTo>
                    <a:pt x="10" y="1690"/>
                    <a:pt x="0" y="1680"/>
                    <a:pt x="0" y="1668"/>
                  </a:cubicBezTo>
                  <a:cubicBezTo>
                    <a:pt x="0" y="22"/>
                    <a:pt x="0" y="22"/>
                    <a:pt x="0" y="22"/>
                  </a:cubicBezTo>
                  <a:cubicBezTo>
                    <a:pt x="0" y="10"/>
                    <a:pt x="10" y="0"/>
                    <a:pt x="22" y="0"/>
                  </a:cubicBezTo>
                  <a:cubicBezTo>
                    <a:pt x="387" y="0"/>
                    <a:pt x="387" y="0"/>
                    <a:pt x="387" y="0"/>
                  </a:cubicBezTo>
                  <a:cubicBezTo>
                    <a:pt x="387" y="44"/>
                    <a:pt x="387" y="44"/>
                    <a:pt x="387" y="44"/>
                  </a:cubicBezTo>
                  <a:cubicBezTo>
                    <a:pt x="44" y="44"/>
                    <a:pt x="44" y="44"/>
                    <a:pt x="44" y="44"/>
                  </a:cubicBezTo>
                  <a:cubicBezTo>
                    <a:pt x="44" y="1646"/>
                    <a:pt x="44" y="1646"/>
                    <a:pt x="44" y="1646"/>
                  </a:cubicBezTo>
                  <a:cubicBezTo>
                    <a:pt x="1230" y="1646"/>
                    <a:pt x="1230" y="1646"/>
                    <a:pt x="1230" y="1646"/>
                  </a:cubicBezTo>
                  <a:cubicBezTo>
                    <a:pt x="1230" y="44"/>
                    <a:pt x="1230" y="44"/>
                    <a:pt x="1230" y="44"/>
                  </a:cubicBezTo>
                  <a:cubicBezTo>
                    <a:pt x="887" y="44"/>
                    <a:pt x="887" y="44"/>
                    <a:pt x="887" y="44"/>
                  </a:cubicBezTo>
                  <a:cubicBezTo>
                    <a:pt x="887" y="0"/>
                    <a:pt x="887" y="0"/>
                    <a:pt x="887" y="0"/>
                  </a:cubicBezTo>
                  <a:cubicBezTo>
                    <a:pt x="1252" y="0"/>
                    <a:pt x="1252" y="0"/>
                    <a:pt x="1252" y="0"/>
                  </a:cubicBezTo>
                  <a:cubicBezTo>
                    <a:pt x="1264" y="0"/>
                    <a:pt x="1274" y="10"/>
                    <a:pt x="1274" y="22"/>
                  </a:cubicBezTo>
                  <a:close/>
                  <a:moveTo>
                    <a:pt x="362" y="520"/>
                  </a:moveTo>
                  <a:cubicBezTo>
                    <a:pt x="484" y="397"/>
                    <a:pt x="484" y="397"/>
                    <a:pt x="484" y="397"/>
                  </a:cubicBezTo>
                  <a:cubicBezTo>
                    <a:pt x="493" y="389"/>
                    <a:pt x="493" y="375"/>
                    <a:pt x="484" y="366"/>
                  </a:cubicBezTo>
                  <a:cubicBezTo>
                    <a:pt x="476" y="358"/>
                    <a:pt x="462" y="358"/>
                    <a:pt x="453" y="366"/>
                  </a:cubicBezTo>
                  <a:cubicBezTo>
                    <a:pt x="347" y="473"/>
                    <a:pt x="347" y="473"/>
                    <a:pt x="347" y="473"/>
                  </a:cubicBezTo>
                  <a:cubicBezTo>
                    <a:pt x="323" y="450"/>
                    <a:pt x="323" y="450"/>
                    <a:pt x="323" y="450"/>
                  </a:cubicBezTo>
                  <a:cubicBezTo>
                    <a:pt x="315" y="441"/>
                    <a:pt x="301" y="441"/>
                    <a:pt x="292" y="450"/>
                  </a:cubicBezTo>
                  <a:cubicBezTo>
                    <a:pt x="284" y="458"/>
                    <a:pt x="284" y="472"/>
                    <a:pt x="292" y="481"/>
                  </a:cubicBezTo>
                  <a:cubicBezTo>
                    <a:pt x="331" y="520"/>
                    <a:pt x="331" y="520"/>
                    <a:pt x="331" y="520"/>
                  </a:cubicBezTo>
                  <a:cubicBezTo>
                    <a:pt x="335" y="524"/>
                    <a:pt x="341" y="526"/>
                    <a:pt x="347" y="526"/>
                  </a:cubicBezTo>
                  <a:cubicBezTo>
                    <a:pt x="352" y="526"/>
                    <a:pt x="358" y="524"/>
                    <a:pt x="362" y="520"/>
                  </a:cubicBezTo>
                  <a:close/>
                  <a:moveTo>
                    <a:pt x="362" y="919"/>
                  </a:moveTo>
                  <a:cubicBezTo>
                    <a:pt x="484" y="796"/>
                    <a:pt x="484" y="796"/>
                    <a:pt x="484" y="796"/>
                  </a:cubicBezTo>
                  <a:cubicBezTo>
                    <a:pt x="493" y="788"/>
                    <a:pt x="493" y="774"/>
                    <a:pt x="484" y="765"/>
                  </a:cubicBezTo>
                  <a:cubicBezTo>
                    <a:pt x="476" y="757"/>
                    <a:pt x="462" y="757"/>
                    <a:pt x="453" y="765"/>
                  </a:cubicBezTo>
                  <a:cubicBezTo>
                    <a:pt x="347" y="872"/>
                    <a:pt x="347" y="872"/>
                    <a:pt x="347" y="872"/>
                  </a:cubicBezTo>
                  <a:cubicBezTo>
                    <a:pt x="323" y="849"/>
                    <a:pt x="323" y="849"/>
                    <a:pt x="323" y="849"/>
                  </a:cubicBezTo>
                  <a:cubicBezTo>
                    <a:pt x="315" y="840"/>
                    <a:pt x="301" y="840"/>
                    <a:pt x="292" y="849"/>
                  </a:cubicBezTo>
                  <a:cubicBezTo>
                    <a:pt x="284" y="858"/>
                    <a:pt x="284" y="872"/>
                    <a:pt x="292" y="880"/>
                  </a:cubicBezTo>
                  <a:cubicBezTo>
                    <a:pt x="331" y="919"/>
                    <a:pt x="331" y="919"/>
                    <a:pt x="331" y="919"/>
                  </a:cubicBezTo>
                  <a:cubicBezTo>
                    <a:pt x="335" y="923"/>
                    <a:pt x="341" y="925"/>
                    <a:pt x="347" y="925"/>
                  </a:cubicBezTo>
                  <a:cubicBezTo>
                    <a:pt x="352" y="925"/>
                    <a:pt x="358" y="923"/>
                    <a:pt x="362" y="919"/>
                  </a:cubicBezTo>
                  <a:close/>
                  <a:moveTo>
                    <a:pt x="362" y="1311"/>
                  </a:moveTo>
                  <a:cubicBezTo>
                    <a:pt x="484" y="1189"/>
                    <a:pt x="484" y="1189"/>
                    <a:pt x="484" y="1189"/>
                  </a:cubicBezTo>
                  <a:cubicBezTo>
                    <a:pt x="493" y="1181"/>
                    <a:pt x="493" y="1167"/>
                    <a:pt x="484" y="1158"/>
                  </a:cubicBezTo>
                  <a:cubicBezTo>
                    <a:pt x="476" y="1149"/>
                    <a:pt x="462" y="1149"/>
                    <a:pt x="453" y="1158"/>
                  </a:cubicBezTo>
                  <a:cubicBezTo>
                    <a:pt x="347" y="1265"/>
                    <a:pt x="347" y="1265"/>
                    <a:pt x="347" y="1265"/>
                  </a:cubicBezTo>
                  <a:cubicBezTo>
                    <a:pt x="323" y="1242"/>
                    <a:pt x="323" y="1242"/>
                    <a:pt x="323" y="1242"/>
                  </a:cubicBezTo>
                  <a:cubicBezTo>
                    <a:pt x="315" y="1233"/>
                    <a:pt x="301" y="1233"/>
                    <a:pt x="292" y="1242"/>
                  </a:cubicBezTo>
                  <a:cubicBezTo>
                    <a:pt x="284" y="1250"/>
                    <a:pt x="284" y="1264"/>
                    <a:pt x="292" y="1273"/>
                  </a:cubicBezTo>
                  <a:cubicBezTo>
                    <a:pt x="331" y="1311"/>
                    <a:pt x="331" y="1311"/>
                    <a:pt x="331" y="1311"/>
                  </a:cubicBezTo>
                  <a:cubicBezTo>
                    <a:pt x="335" y="1316"/>
                    <a:pt x="341" y="1318"/>
                    <a:pt x="347" y="1318"/>
                  </a:cubicBezTo>
                  <a:cubicBezTo>
                    <a:pt x="352" y="1318"/>
                    <a:pt x="358" y="1316"/>
                    <a:pt x="362" y="1311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sp>
        <p:nvSpPr>
          <p:cNvPr id="221" name="Rectangle 220"/>
          <p:cNvSpPr/>
          <p:nvPr/>
        </p:nvSpPr>
        <p:spPr>
          <a:xfrm rot="16200000">
            <a:off x="800384" y="3993202"/>
            <a:ext cx="979520" cy="242117"/>
          </a:xfrm>
          <a:prstGeom prst="rect">
            <a:avLst/>
          </a:prstGeom>
          <a:solidFill>
            <a:srgbClr val="F2F2F2"/>
          </a:solidFill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800" dirty="0">
                <a:solidFill>
                  <a:srgbClr val="575757"/>
                </a:solidFill>
              </a:rPr>
              <a:t>Спецификация требований</a:t>
            </a:r>
          </a:p>
        </p:txBody>
      </p:sp>
      <p:sp>
        <p:nvSpPr>
          <p:cNvPr id="222" name="Rectangle 221"/>
          <p:cNvSpPr/>
          <p:nvPr/>
        </p:nvSpPr>
        <p:spPr>
          <a:xfrm rot="16200000">
            <a:off x="800383" y="2981846"/>
            <a:ext cx="979520" cy="242117"/>
          </a:xfrm>
          <a:prstGeom prst="rect">
            <a:avLst/>
          </a:prstGeom>
          <a:solidFill>
            <a:srgbClr val="D4DF33"/>
          </a:solidFill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800" dirty="0">
                <a:solidFill>
                  <a:srgbClr val="575757"/>
                </a:solidFill>
              </a:rPr>
              <a:t>Структура лицензирования</a:t>
            </a:r>
          </a:p>
        </p:txBody>
      </p:sp>
      <p:sp>
        <p:nvSpPr>
          <p:cNvPr id="270" name="Rectangle 269"/>
          <p:cNvSpPr/>
          <p:nvPr/>
        </p:nvSpPr>
        <p:spPr>
          <a:xfrm rot="16200000">
            <a:off x="800383" y="1970488"/>
            <a:ext cx="979520" cy="242117"/>
          </a:xfrm>
          <a:prstGeom prst="rect">
            <a:avLst/>
          </a:prstGeom>
          <a:solidFill>
            <a:srgbClr val="D4DF33"/>
          </a:solidFill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800" dirty="0">
                <a:solidFill>
                  <a:srgbClr val="575757"/>
                </a:solidFill>
              </a:rPr>
              <a:t>Лицензируемые игроки</a:t>
            </a:r>
          </a:p>
        </p:txBody>
      </p:sp>
      <p:sp>
        <p:nvSpPr>
          <p:cNvPr id="271" name="Oval 270"/>
          <p:cNvSpPr/>
          <p:nvPr/>
        </p:nvSpPr>
        <p:spPr>
          <a:xfrm>
            <a:off x="839801" y="1517222"/>
            <a:ext cx="170121" cy="170174"/>
          </a:xfrm>
          <a:prstGeom prst="ellipse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en-US" sz="900">
                <a:solidFill>
                  <a:srgbClr val="FFFFFF"/>
                </a:solidFill>
              </a:rPr>
              <a:t>I</a:t>
            </a:r>
            <a:endParaRPr lang="ru-RU" sz="900" dirty="0" err="1">
              <a:solidFill>
                <a:srgbClr val="FFFFFF"/>
              </a:solidFill>
            </a:endParaRPr>
          </a:p>
        </p:txBody>
      </p:sp>
      <p:sp>
        <p:nvSpPr>
          <p:cNvPr id="272" name="Oval 271"/>
          <p:cNvSpPr/>
          <p:nvPr/>
        </p:nvSpPr>
        <p:spPr>
          <a:xfrm>
            <a:off x="2176433" y="1517222"/>
            <a:ext cx="170121" cy="170174"/>
          </a:xfrm>
          <a:prstGeom prst="ellipse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en-US" sz="900">
                <a:solidFill>
                  <a:srgbClr val="FFFFFF"/>
                </a:solidFill>
              </a:rPr>
              <a:t>II</a:t>
            </a:r>
            <a:endParaRPr lang="ru-RU" sz="900" dirty="0" err="1">
              <a:solidFill>
                <a:srgbClr val="FFFFFF"/>
              </a:solidFill>
            </a:endParaRPr>
          </a:p>
        </p:txBody>
      </p:sp>
      <p:sp>
        <p:nvSpPr>
          <p:cNvPr id="273" name="Oval 272"/>
          <p:cNvSpPr/>
          <p:nvPr/>
        </p:nvSpPr>
        <p:spPr>
          <a:xfrm>
            <a:off x="2176433" y="2299889"/>
            <a:ext cx="170121" cy="170174"/>
          </a:xfrm>
          <a:prstGeom prst="ellipse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en-US" sz="900">
                <a:solidFill>
                  <a:srgbClr val="FFFFFF"/>
                </a:solidFill>
              </a:rPr>
              <a:t>III</a:t>
            </a:r>
            <a:endParaRPr lang="ru-RU" sz="900" dirty="0" err="1">
              <a:solidFill>
                <a:srgbClr val="FFFFFF"/>
              </a:solidFill>
            </a:endParaRPr>
          </a:p>
        </p:txBody>
      </p:sp>
      <p:sp>
        <p:nvSpPr>
          <p:cNvPr id="274" name="Oval 273"/>
          <p:cNvSpPr/>
          <p:nvPr/>
        </p:nvSpPr>
        <p:spPr>
          <a:xfrm>
            <a:off x="2176433" y="3037744"/>
            <a:ext cx="170121" cy="170174"/>
          </a:xfrm>
          <a:prstGeom prst="ellipse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en-US" sz="900">
                <a:solidFill>
                  <a:srgbClr val="FFFFFF"/>
                </a:solidFill>
              </a:rPr>
              <a:t>IV</a:t>
            </a:r>
            <a:endParaRPr lang="ru-RU" sz="900" dirty="0" err="1">
              <a:solidFill>
                <a:srgbClr val="FFFFFF"/>
              </a:solidFill>
            </a:endParaRPr>
          </a:p>
        </p:txBody>
      </p:sp>
      <p:sp>
        <p:nvSpPr>
          <p:cNvPr id="275" name="Oval 274"/>
          <p:cNvSpPr/>
          <p:nvPr/>
        </p:nvSpPr>
        <p:spPr>
          <a:xfrm>
            <a:off x="2176433" y="3827853"/>
            <a:ext cx="170121" cy="170174"/>
          </a:xfrm>
          <a:prstGeom prst="ellipse">
            <a:avLst/>
          </a:prstGeom>
          <a:solidFill>
            <a:srgbClr val="29BA74"/>
          </a:solidFill>
          <a:ln w="9525" cap="rnd" cmpd="sng" algn="ctr">
            <a:solidFill>
              <a:srgbClr val="29BA74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en-US" sz="900">
                <a:solidFill>
                  <a:srgbClr val="FFFFFF"/>
                </a:solidFill>
              </a:rPr>
              <a:t>V</a:t>
            </a:r>
            <a:endParaRPr lang="ru-RU" sz="900" dirty="0" err="1">
              <a:solidFill>
                <a:srgbClr val="FFFFFF"/>
              </a:solidFill>
            </a:endParaRPr>
          </a:p>
        </p:txBody>
      </p:sp>
      <p:sp>
        <p:nvSpPr>
          <p:cNvPr id="276" name="Oval 275"/>
          <p:cNvSpPr/>
          <p:nvPr/>
        </p:nvSpPr>
        <p:spPr>
          <a:xfrm>
            <a:off x="1229883" y="1533574"/>
            <a:ext cx="157942" cy="151466"/>
          </a:xfrm>
          <a:prstGeom prst="ellipse">
            <a:avLst/>
          </a:prstGeom>
          <a:solidFill>
            <a:srgbClr val="6E6F73"/>
          </a:solidFill>
          <a:ln w="9525" cap="rnd" cmpd="sng" algn="ctr">
            <a:solidFill>
              <a:srgbClr val="6E6F7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800">
                <a:solidFill>
                  <a:srgbClr val="FFFFFF"/>
                </a:solidFill>
              </a:rPr>
              <a:t>1</a:t>
            </a:r>
            <a:endParaRPr lang="ru-RU" sz="800" dirty="0" err="1">
              <a:solidFill>
                <a:srgbClr val="FFFFFF"/>
              </a:solidFill>
            </a:endParaRPr>
          </a:p>
        </p:txBody>
      </p:sp>
      <p:sp>
        <p:nvSpPr>
          <p:cNvPr id="277" name="Oval 276"/>
          <p:cNvSpPr/>
          <p:nvPr/>
        </p:nvSpPr>
        <p:spPr>
          <a:xfrm>
            <a:off x="1229883" y="2567225"/>
            <a:ext cx="157942" cy="151466"/>
          </a:xfrm>
          <a:prstGeom prst="ellipse">
            <a:avLst/>
          </a:prstGeom>
          <a:solidFill>
            <a:srgbClr val="6E6F73"/>
          </a:solidFill>
          <a:ln w="9525" cap="rnd" cmpd="sng" algn="ctr">
            <a:solidFill>
              <a:srgbClr val="6E6F7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800">
                <a:solidFill>
                  <a:srgbClr val="FFFFFF"/>
                </a:solidFill>
              </a:rPr>
              <a:t>2</a:t>
            </a:r>
            <a:endParaRPr lang="ru-RU" sz="800" dirty="0" err="1">
              <a:solidFill>
                <a:srgbClr val="FFFFFF"/>
              </a:solidFill>
            </a:endParaRPr>
          </a:p>
        </p:txBody>
      </p:sp>
      <p:sp>
        <p:nvSpPr>
          <p:cNvPr id="278" name="Oval 277"/>
          <p:cNvSpPr/>
          <p:nvPr/>
        </p:nvSpPr>
        <p:spPr>
          <a:xfrm>
            <a:off x="1229883" y="3587401"/>
            <a:ext cx="157942" cy="151466"/>
          </a:xfrm>
          <a:prstGeom prst="ellipse">
            <a:avLst/>
          </a:prstGeom>
          <a:solidFill>
            <a:srgbClr val="6E6F73"/>
          </a:solidFill>
          <a:ln w="9525" cap="rnd" cmpd="sng" algn="ctr">
            <a:solidFill>
              <a:srgbClr val="6E6F7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800">
                <a:solidFill>
                  <a:srgbClr val="FFFFFF"/>
                </a:solidFill>
              </a:rPr>
              <a:t>3</a:t>
            </a:r>
            <a:endParaRPr lang="ru-RU" sz="800" dirty="0" err="1">
              <a:solidFill>
                <a:srgbClr val="FFFFFF"/>
              </a:solidFill>
            </a:endParaRPr>
          </a:p>
        </p:txBody>
      </p:sp>
      <p:sp>
        <p:nvSpPr>
          <p:cNvPr id="279" name="Oval 278"/>
          <p:cNvSpPr/>
          <p:nvPr/>
        </p:nvSpPr>
        <p:spPr>
          <a:xfrm>
            <a:off x="3249913" y="1592466"/>
            <a:ext cx="157942" cy="151466"/>
          </a:xfrm>
          <a:prstGeom prst="ellipse">
            <a:avLst/>
          </a:prstGeom>
          <a:solidFill>
            <a:srgbClr val="6E6F73"/>
          </a:solidFill>
          <a:ln w="9525" cap="rnd" cmpd="sng" algn="ctr">
            <a:solidFill>
              <a:srgbClr val="6E6F7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800">
                <a:solidFill>
                  <a:srgbClr val="FFFFFF"/>
                </a:solidFill>
              </a:rPr>
              <a:t>4</a:t>
            </a:r>
            <a:endParaRPr lang="ru-RU" sz="800" dirty="0" err="1">
              <a:solidFill>
                <a:srgbClr val="FFFFFF"/>
              </a:solidFill>
            </a:endParaRPr>
          </a:p>
        </p:txBody>
      </p:sp>
      <p:sp>
        <p:nvSpPr>
          <p:cNvPr id="280" name="Oval 279"/>
          <p:cNvSpPr/>
          <p:nvPr/>
        </p:nvSpPr>
        <p:spPr>
          <a:xfrm>
            <a:off x="3249913" y="1851303"/>
            <a:ext cx="157942" cy="151466"/>
          </a:xfrm>
          <a:prstGeom prst="ellipse">
            <a:avLst/>
          </a:prstGeom>
          <a:solidFill>
            <a:srgbClr val="6E6F73"/>
          </a:solidFill>
          <a:ln w="9525" cap="rnd" cmpd="sng" algn="ctr">
            <a:solidFill>
              <a:srgbClr val="6E6F7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800">
                <a:solidFill>
                  <a:srgbClr val="FFFFFF"/>
                </a:solidFill>
              </a:rPr>
              <a:t>5</a:t>
            </a:r>
            <a:endParaRPr lang="ru-RU" sz="800" dirty="0" err="1">
              <a:solidFill>
                <a:srgbClr val="FFFFFF"/>
              </a:solidFill>
            </a:endParaRPr>
          </a:p>
        </p:txBody>
      </p:sp>
      <p:sp>
        <p:nvSpPr>
          <p:cNvPr id="281" name="Oval 280"/>
          <p:cNvSpPr/>
          <p:nvPr/>
        </p:nvSpPr>
        <p:spPr>
          <a:xfrm>
            <a:off x="3249913" y="2096157"/>
            <a:ext cx="157942" cy="151466"/>
          </a:xfrm>
          <a:prstGeom prst="ellipse">
            <a:avLst/>
          </a:prstGeom>
          <a:solidFill>
            <a:srgbClr val="6E6F73"/>
          </a:solidFill>
          <a:ln w="9525" cap="rnd" cmpd="sng" algn="ctr">
            <a:solidFill>
              <a:srgbClr val="6E6F7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en-US" sz="800">
                <a:solidFill>
                  <a:srgbClr val="FFFFFF"/>
                </a:solidFill>
              </a:rPr>
              <a:t>6</a:t>
            </a:r>
            <a:endParaRPr lang="ru-RU" sz="800" dirty="0" err="1">
              <a:solidFill>
                <a:srgbClr val="FFFFFF"/>
              </a:solidFill>
            </a:endParaRPr>
          </a:p>
        </p:txBody>
      </p:sp>
      <p:sp>
        <p:nvSpPr>
          <p:cNvPr id="282" name="Oval 281"/>
          <p:cNvSpPr/>
          <p:nvPr/>
        </p:nvSpPr>
        <p:spPr>
          <a:xfrm>
            <a:off x="5894451" y="1751414"/>
            <a:ext cx="157942" cy="151466"/>
          </a:xfrm>
          <a:prstGeom prst="ellipse">
            <a:avLst/>
          </a:prstGeom>
          <a:solidFill>
            <a:srgbClr val="6E6F73"/>
          </a:solidFill>
          <a:ln w="9525" cap="rnd" cmpd="sng" algn="ctr">
            <a:solidFill>
              <a:srgbClr val="6E6F7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en-US" sz="800">
                <a:solidFill>
                  <a:srgbClr val="FFFFFF"/>
                </a:solidFill>
              </a:rPr>
              <a:t>7</a:t>
            </a:r>
            <a:endParaRPr lang="ru-RU" sz="800" dirty="0" err="1">
              <a:solidFill>
                <a:srgbClr val="FFFFFF"/>
              </a:solidFill>
            </a:endParaRPr>
          </a:p>
        </p:txBody>
      </p:sp>
      <p:sp>
        <p:nvSpPr>
          <p:cNvPr id="283" name="Oval 282"/>
          <p:cNvSpPr/>
          <p:nvPr/>
        </p:nvSpPr>
        <p:spPr>
          <a:xfrm>
            <a:off x="5894451" y="1975387"/>
            <a:ext cx="157942" cy="151466"/>
          </a:xfrm>
          <a:prstGeom prst="ellipse">
            <a:avLst/>
          </a:prstGeom>
          <a:solidFill>
            <a:srgbClr val="6E6F73"/>
          </a:solidFill>
          <a:ln w="9525" cap="rnd" cmpd="sng" algn="ctr">
            <a:solidFill>
              <a:srgbClr val="6E6F7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en-US" sz="800">
                <a:solidFill>
                  <a:srgbClr val="FFFFFF"/>
                </a:solidFill>
              </a:rPr>
              <a:t>8</a:t>
            </a:r>
            <a:endParaRPr lang="ru-RU" sz="800" dirty="0" err="1">
              <a:solidFill>
                <a:srgbClr val="FFFFFF"/>
              </a:solidFill>
            </a:endParaRPr>
          </a:p>
        </p:txBody>
      </p:sp>
      <p:sp>
        <p:nvSpPr>
          <p:cNvPr id="291" name="Rectangle 290"/>
          <p:cNvSpPr/>
          <p:nvPr/>
        </p:nvSpPr>
        <p:spPr>
          <a:xfrm>
            <a:off x="3310173" y="2467932"/>
            <a:ext cx="2458140" cy="205412"/>
          </a:xfrm>
          <a:prstGeom prst="rect">
            <a:avLst/>
          </a:prstGeom>
          <a:solidFill>
            <a:srgbClr val="D4DF33"/>
          </a:solidFill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800" dirty="0">
                <a:solidFill>
                  <a:srgbClr val="575757"/>
                </a:solidFill>
              </a:rPr>
              <a:t>Услуги связи</a:t>
            </a:r>
          </a:p>
        </p:txBody>
      </p:sp>
      <p:sp>
        <p:nvSpPr>
          <p:cNvPr id="292" name="Rectangle 291"/>
          <p:cNvSpPr/>
          <p:nvPr/>
        </p:nvSpPr>
        <p:spPr>
          <a:xfrm>
            <a:off x="5963969" y="2467932"/>
            <a:ext cx="2458140" cy="205412"/>
          </a:xfrm>
          <a:prstGeom prst="rect">
            <a:avLst/>
          </a:prstGeom>
          <a:noFill/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800" dirty="0">
                <a:solidFill>
                  <a:srgbClr val="575757"/>
                </a:solidFill>
              </a:rPr>
              <a:t>Трансляция контента</a:t>
            </a:r>
          </a:p>
        </p:txBody>
      </p:sp>
      <p:sp>
        <p:nvSpPr>
          <p:cNvPr id="293" name="Oval 292"/>
          <p:cNvSpPr/>
          <p:nvPr/>
        </p:nvSpPr>
        <p:spPr>
          <a:xfrm>
            <a:off x="3249913" y="2494905"/>
            <a:ext cx="157942" cy="151466"/>
          </a:xfrm>
          <a:prstGeom prst="ellipse">
            <a:avLst/>
          </a:prstGeom>
          <a:solidFill>
            <a:srgbClr val="6E6F73"/>
          </a:solidFill>
          <a:ln w="9525" cap="rnd" cmpd="sng" algn="ctr">
            <a:solidFill>
              <a:srgbClr val="6E6F7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en-US" sz="800">
                <a:solidFill>
                  <a:srgbClr val="FFFFFF"/>
                </a:solidFill>
              </a:rPr>
              <a:t>9</a:t>
            </a:r>
            <a:endParaRPr lang="ru-RU" sz="800" dirty="0" err="1">
              <a:solidFill>
                <a:srgbClr val="FFFFFF"/>
              </a:solidFill>
            </a:endParaRPr>
          </a:p>
        </p:txBody>
      </p:sp>
      <p:sp>
        <p:nvSpPr>
          <p:cNvPr id="294" name="Oval 293"/>
          <p:cNvSpPr/>
          <p:nvPr/>
        </p:nvSpPr>
        <p:spPr>
          <a:xfrm>
            <a:off x="5894451" y="2494905"/>
            <a:ext cx="157942" cy="151466"/>
          </a:xfrm>
          <a:prstGeom prst="ellipse">
            <a:avLst/>
          </a:prstGeom>
          <a:solidFill>
            <a:srgbClr val="6E6F73"/>
          </a:solidFill>
          <a:ln w="9525" cap="rnd" cmpd="sng" algn="ctr">
            <a:solidFill>
              <a:srgbClr val="6E6F7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en-US" sz="800">
                <a:solidFill>
                  <a:srgbClr val="FFFFFF"/>
                </a:solidFill>
              </a:rPr>
              <a:t>11</a:t>
            </a:r>
            <a:endParaRPr lang="ru-RU" sz="800" dirty="0" err="1">
              <a:solidFill>
                <a:srgbClr val="FFFFFF"/>
              </a:solidFill>
            </a:endParaRPr>
          </a:p>
        </p:txBody>
      </p:sp>
      <p:sp>
        <p:nvSpPr>
          <p:cNvPr id="287" name="Rectangle 286"/>
          <p:cNvSpPr/>
          <p:nvPr/>
        </p:nvSpPr>
        <p:spPr>
          <a:xfrm>
            <a:off x="3310173" y="2721328"/>
            <a:ext cx="2458140" cy="205412"/>
          </a:xfrm>
          <a:prstGeom prst="rect">
            <a:avLst/>
          </a:prstGeom>
          <a:solidFill>
            <a:srgbClr val="D4DF33"/>
          </a:solidFill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800" dirty="0">
                <a:solidFill>
                  <a:srgbClr val="575757"/>
                </a:solidFill>
              </a:rPr>
              <a:t>ОТТ сервисы</a:t>
            </a:r>
          </a:p>
        </p:txBody>
      </p:sp>
      <p:sp>
        <p:nvSpPr>
          <p:cNvPr id="288" name="Rectangle 287"/>
          <p:cNvSpPr/>
          <p:nvPr/>
        </p:nvSpPr>
        <p:spPr>
          <a:xfrm>
            <a:off x="5963969" y="2721328"/>
            <a:ext cx="2458140" cy="205412"/>
          </a:xfrm>
          <a:prstGeom prst="rect">
            <a:avLst/>
          </a:prstGeom>
          <a:noFill/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800" dirty="0">
                <a:solidFill>
                  <a:srgbClr val="575757"/>
                </a:solidFill>
              </a:rPr>
              <a:t>Сервисы хранения данных</a:t>
            </a:r>
          </a:p>
        </p:txBody>
      </p:sp>
      <p:sp>
        <p:nvSpPr>
          <p:cNvPr id="289" name="Oval 288"/>
          <p:cNvSpPr/>
          <p:nvPr/>
        </p:nvSpPr>
        <p:spPr>
          <a:xfrm>
            <a:off x="3249913" y="2748301"/>
            <a:ext cx="157942" cy="151466"/>
          </a:xfrm>
          <a:prstGeom prst="ellipse">
            <a:avLst/>
          </a:prstGeom>
          <a:solidFill>
            <a:srgbClr val="6E6F73"/>
          </a:solidFill>
          <a:ln w="9525" cap="rnd" cmpd="sng" algn="ctr">
            <a:solidFill>
              <a:srgbClr val="6E6F7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en-US" sz="800">
                <a:solidFill>
                  <a:srgbClr val="FFFFFF"/>
                </a:solidFill>
              </a:rPr>
              <a:t>10</a:t>
            </a:r>
            <a:endParaRPr lang="ru-RU" sz="800" dirty="0" err="1">
              <a:solidFill>
                <a:srgbClr val="FFFFFF"/>
              </a:solidFill>
            </a:endParaRPr>
          </a:p>
        </p:txBody>
      </p:sp>
      <p:sp>
        <p:nvSpPr>
          <p:cNvPr id="290" name="Oval 289"/>
          <p:cNvSpPr/>
          <p:nvPr/>
        </p:nvSpPr>
        <p:spPr>
          <a:xfrm>
            <a:off x="5894451" y="2748301"/>
            <a:ext cx="157942" cy="151466"/>
          </a:xfrm>
          <a:prstGeom prst="ellipse">
            <a:avLst/>
          </a:prstGeom>
          <a:solidFill>
            <a:srgbClr val="6E6F73"/>
          </a:solidFill>
          <a:ln w="9525" cap="rnd" cmpd="sng" algn="ctr">
            <a:solidFill>
              <a:srgbClr val="6E6F7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en-US" sz="800">
                <a:solidFill>
                  <a:srgbClr val="FFFFFF"/>
                </a:solidFill>
              </a:rPr>
              <a:t>12</a:t>
            </a:r>
            <a:endParaRPr lang="ru-RU" sz="800" dirty="0" err="1">
              <a:solidFill>
                <a:srgbClr val="FFFFFF"/>
              </a:solidFill>
            </a:endParaRPr>
          </a:p>
        </p:txBody>
      </p:sp>
      <p:sp>
        <p:nvSpPr>
          <p:cNvPr id="302" name="Rectangle 301"/>
          <p:cNvSpPr/>
          <p:nvPr/>
        </p:nvSpPr>
        <p:spPr>
          <a:xfrm>
            <a:off x="3310173" y="3232676"/>
            <a:ext cx="2458140" cy="205412"/>
          </a:xfrm>
          <a:prstGeom prst="rect">
            <a:avLst/>
          </a:prstGeom>
          <a:solidFill>
            <a:srgbClr val="D4DF33"/>
          </a:solidFill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800" dirty="0">
                <a:solidFill>
                  <a:srgbClr val="575757"/>
                </a:solidFill>
              </a:rPr>
              <a:t>Нейтральность сети</a:t>
            </a:r>
          </a:p>
        </p:txBody>
      </p:sp>
      <p:sp>
        <p:nvSpPr>
          <p:cNvPr id="303" name="Rectangle 302"/>
          <p:cNvSpPr/>
          <p:nvPr/>
        </p:nvSpPr>
        <p:spPr>
          <a:xfrm>
            <a:off x="5963969" y="3232676"/>
            <a:ext cx="2458140" cy="205412"/>
          </a:xfrm>
          <a:prstGeom prst="rect">
            <a:avLst/>
          </a:prstGeom>
          <a:noFill/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800" dirty="0">
                <a:solidFill>
                  <a:srgbClr val="575757"/>
                </a:solidFill>
              </a:rPr>
              <a:t>Адресация/ Домены</a:t>
            </a:r>
          </a:p>
        </p:txBody>
      </p:sp>
      <p:sp>
        <p:nvSpPr>
          <p:cNvPr id="304" name="Oval 303"/>
          <p:cNvSpPr/>
          <p:nvPr/>
        </p:nvSpPr>
        <p:spPr>
          <a:xfrm>
            <a:off x="3249913" y="3259650"/>
            <a:ext cx="157942" cy="151466"/>
          </a:xfrm>
          <a:prstGeom prst="ellipse">
            <a:avLst/>
          </a:prstGeom>
          <a:solidFill>
            <a:srgbClr val="6E6F73"/>
          </a:solidFill>
          <a:ln w="9525" cap="rnd" cmpd="sng" algn="ctr">
            <a:solidFill>
              <a:srgbClr val="6E6F7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en-US" sz="800">
                <a:solidFill>
                  <a:srgbClr val="FFFFFF"/>
                </a:solidFill>
              </a:rPr>
              <a:t>13</a:t>
            </a:r>
            <a:endParaRPr lang="ru-RU" sz="800" dirty="0" err="1">
              <a:solidFill>
                <a:srgbClr val="FFFFFF"/>
              </a:solidFill>
            </a:endParaRPr>
          </a:p>
        </p:txBody>
      </p:sp>
      <p:sp>
        <p:nvSpPr>
          <p:cNvPr id="305" name="Oval 304"/>
          <p:cNvSpPr/>
          <p:nvPr/>
        </p:nvSpPr>
        <p:spPr>
          <a:xfrm>
            <a:off x="5894451" y="3259650"/>
            <a:ext cx="157942" cy="151466"/>
          </a:xfrm>
          <a:prstGeom prst="ellipse">
            <a:avLst/>
          </a:prstGeom>
          <a:solidFill>
            <a:srgbClr val="6E6F73"/>
          </a:solidFill>
          <a:ln w="9525" cap="rnd" cmpd="sng" algn="ctr">
            <a:solidFill>
              <a:srgbClr val="6E6F7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en-US" sz="800">
                <a:solidFill>
                  <a:srgbClr val="FFFFFF"/>
                </a:solidFill>
              </a:rPr>
              <a:t>15</a:t>
            </a:r>
            <a:endParaRPr lang="ru-RU" sz="800" dirty="0" err="1">
              <a:solidFill>
                <a:srgbClr val="FFFFFF"/>
              </a:solidFill>
            </a:endParaRPr>
          </a:p>
        </p:txBody>
      </p:sp>
      <p:sp>
        <p:nvSpPr>
          <p:cNvPr id="298" name="Rectangle 297"/>
          <p:cNvSpPr/>
          <p:nvPr/>
        </p:nvSpPr>
        <p:spPr>
          <a:xfrm>
            <a:off x="3310173" y="3493080"/>
            <a:ext cx="2458140" cy="205412"/>
          </a:xfrm>
          <a:prstGeom prst="rect">
            <a:avLst/>
          </a:prstGeom>
          <a:noFill/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800" dirty="0" err="1">
                <a:solidFill>
                  <a:srgbClr val="575757"/>
                </a:solidFill>
              </a:rPr>
              <a:t>Межоператорское</a:t>
            </a:r>
            <a:r>
              <a:rPr lang="ru-RU" sz="800" dirty="0">
                <a:solidFill>
                  <a:srgbClr val="575757"/>
                </a:solidFill>
              </a:rPr>
              <a:t> взаимодействие</a:t>
            </a:r>
          </a:p>
        </p:txBody>
      </p:sp>
      <p:sp>
        <p:nvSpPr>
          <p:cNvPr id="299" name="Rectangle 298"/>
          <p:cNvSpPr/>
          <p:nvPr/>
        </p:nvSpPr>
        <p:spPr>
          <a:xfrm>
            <a:off x="5963969" y="3493080"/>
            <a:ext cx="2458140" cy="205412"/>
          </a:xfrm>
          <a:prstGeom prst="rect">
            <a:avLst/>
          </a:prstGeom>
          <a:noFill/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800" dirty="0">
                <a:solidFill>
                  <a:srgbClr val="575757"/>
                </a:solidFill>
              </a:rPr>
              <a:t>Нумерация</a:t>
            </a:r>
          </a:p>
        </p:txBody>
      </p:sp>
      <p:sp>
        <p:nvSpPr>
          <p:cNvPr id="300" name="Oval 299"/>
          <p:cNvSpPr/>
          <p:nvPr/>
        </p:nvSpPr>
        <p:spPr>
          <a:xfrm>
            <a:off x="3249913" y="3520053"/>
            <a:ext cx="157942" cy="151466"/>
          </a:xfrm>
          <a:prstGeom prst="ellipse">
            <a:avLst/>
          </a:prstGeom>
          <a:solidFill>
            <a:srgbClr val="6E6F73"/>
          </a:solidFill>
          <a:ln w="9525" cap="rnd" cmpd="sng" algn="ctr">
            <a:solidFill>
              <a:srgbClr val="6E6F7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en-US" sz="800">
                <a:solidFill>
                  <a:srgbClr val="FFFFFF"/>
                </a:solidFill>
              </a:rPr>
              <a:t>14</a:t>
            </a:r>
            <a:endParaRPr lang="ru-RU" sz="800" dirty="0" err="1">
              <a:solidFill>
                <a:srgbClr val="FFFFFF"/>
              </a:solidFill>
            </a:endParaRPr>
          </a:p>
        </p:txBody>
      </p:sp>
      <p:sp>
        <p:nvSpPr>
          <p:cNvPr id="301" name="Oval 300"/>
          <p:cNvSpPr/>
          <p:nvPr/>
        </p:nvSpPr>
        <p:spPr>
          <a:xfrm>
            <a:off x="5894451" y="3520053"/>
            <a:ext cx="157942" cy="151466"/>
          </a:xfrm>
          <a:prstGeom prst="ellipse">
            <a:avLst/>
          </a:prstGeom>
          <a:solidFill>
            <a:srgbClr val="6E6F73"/>
          </a:solidFill>
          <a:ln w="9525" cap="rnd" cmpd="sng" algn="ctr">
            <a:solidFill>
              <a:srgbClr val="6E6F7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en-US" sz="800">
                <a:solidFill>
                  <a:srgbClr val="FFFFFF"/>
                </a:solidFill>
              </a:rPr>
              <a:t>16</a:t>
            </a:r>
            <a:endParaRPr lang="ru-RU" sz="800" dirty="0" err="1">
              <a:solidFill>
                <a:srgbClr val="FFFFFF"/>
              </a:solidFill>
            </a:endParaRPr>
          </a:p>
        </p:txBody>
      </p:sp>
      <p:sp>
        <p:nvSpPr>
          <p:cNvPr id="307" name="Rectangle 306"/>
          <p:cNvSpPr/>
          <p:nvPr/>
        </p:nvSpPr>
        <p:spPr>
          <a:xfrm>
            <a:off x="3310173" y="4017201"/>
            <a:ext cx="2458140" cy="205412"/>
          </a:xfrm>
          <a:prstGeom prst="rect">
            <a:avLst/>
          </a:prstGeom>
          <a:solidFill>
            <a:srgbClr val="D4DF33"/>
          </a:solidFill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800" dirty="0">
                <a:solidFill>
                  <a:srgbClr val="575757"/>
                </a:solidFill>
              </a:rPr>
              <a:t>Спектр</a:t>
            </a:r>
          </a:p>
        </p:txBody>
      </p:sp>
      <p:sp>
        <p:nvSpPr>
          <p:cNvPr id="308" name="Rectangle 307"/>
          <p:cNvSpPr/>
          <p:nvPr/>
        </p:nvSpPr>
        <p:spPr>
          <a:xfrm>
            <a:off x="3310173" y="4279689"/>
            <a:ext cx="2458140" cy="205412"/>
          </a:xfrm>
          <a:prstGeom prst="rect">
            <a:avLst/>
          </a:prstGeom>
          <a:solidFill>
            <a:srgbClr val="D4DF33"/>
          </a:solidFill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800" dirty="0">
                <a:solidFill>
                  <a:srgbClr val="575757"/>
                </a:solidFill>
              </a:rPr>
              <a:t>Строительство линий связи</a:t>
            </a:r>
          </a:p>
        </p:txBody>
      </p:sp>
      <p:sp>
        <p:nvSpPr>
          <p:cNvPr id="309" name="Rectangle 308"/>
          <p:cNvSpPr/>
          <p:nvPr/>
        </p:nvSpPr>
        <p:spPr>
          <a:xfrm>
            <a:off x="5963969" y="4017201"/>
            <a:ext cx="2458140" cy="205412"/>
          </a:xfrm>
          <a:prstGeom prst="rect">
            <a:avLst/>
          </a:prstGeom>
          <a:solidFill>
            <a:srgbClr val="D4DF33"/>
          </a:solidFill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800" dirty="0">
                <a:solidFill>
                  <a:srgbClr val="575757"/>
                </a:solidFill>
              </a:rPr>
              <a:t>Совместный доступ к инфраструктуре</a:t>
            </a:r>
          </a:p>
        </p:txBody>
      </p:sp>
      <p:sp>
        <p:nvSpPr>
          <p:cNvPr id="310" name="Rectangle 309"/>
          <p:cNvSpPr/>
          <p:nvPr/>
        </p:nvSpPr>
        <p:spPr>
          <a:xfrm>
            <a:off x="5963969" y="4279689"/>
            <a:ext cx="2458140" cy="205412"/>
          </a:xfrm>
          <a:prstGeom prst="rect">
            <a:avLst/>
          </a:prstGeom>
          <a:solidFill>
            <a:srgbClr val="D4DF33"/>
          </a:solidFill>
          <a:ln w="9525" cap="rnd" cmpd="sng" algn="ctr">
            <a:solidFill>
              <a:srgbClr val="9A9A9A"/>
            </a:solidFill>
            <a:prstDash val="sysDash"/>
            <a:round/>
            <a:headEnd type="none" w="med" len="med"/>
            <a:tailEnd type="none" w="med" len="med"/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ru-RU" sz="800" dirty="0">
                <a:solidFill>
                  <a:srgbClr val="575757"/>
                </a:solidFill>
              </a:rPr>
              <a:t>Универсальный доступ</a:t>
            </a:r>
          </a:p>
        </p:txBody>
      </p:sp>
      <p:sp>
        <p:nvSpPr>
          <p:cNvPr id="311" name="Oval 310"/>
          <p:cNvSpPr/>
          <p:nvPr/>
        </p:nvSpPr>
        <p:spPr>
          <a:xfrm>
            <a:off x="3249913" y="4044174"/>
            <a:ext cx="157942" cy="151466"/>
          </a:xfrm>
          <a:prstGeom prst="ellipse">
            <a:avLst/>
          </a:prstGeom>
          <a:solidFill>
            <a:srgbClr val="6E6F73"/>
          </a:solidFill>
          <a:ln w="9525" cap="rnd" cmpd="sng" algn="ctr">
            <a:solidFill>
              <a:srgbClr val="6E6F7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en-US" sz="800">
                <a:solidFill>
                  <a:srgbClr val="FFFFFF"/>
                </a:solidFill>
              </a:rPr>
              <a:t>17</a:t>
            </a:r>
            <a:endParaRPr lang="ru-RU" sz="800" dirty="0" err="1">
              <a:solidFill>
                <a:srgbClr val="FFFFFF"/>
              </a:solidFill>
            </a:endParaRPr>
          </a:p>
        </p:txBody>
      </p:sp>
      <p:sp>
        <p:nvSpPr>
          <p:cNvPr id="312" name="Oval 311"/>
          <p:cNvSpPr/>
          <p:nvPr/>
        </p:nvSpPr>
        <p:spPr>
          <a:xfrm>
            <a:off x="3249913" y="4306662"/>
            <a:ext cx="157942" cy="151466"/>
          </a:xfrm>
          <a:prstGeom prst="ellipse">
            <a:avLst/>
          </a:prstGeom>
          <a:solidFill>
            <a:srgbClr val="6E6F73"/>
          </a:solidFill>
          <a:ln w="9525" cap="rnd" cmpd="sng" algn="ctr">
            <a:solidFill>
              <a:srgbClr val="6E6F7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en-US" sz="800">
                <a:solidFill>
                  <a:srgbClr val="FFFFFF"/>
                </a:solidFill>
              </a:rPr>
              <a:t>18</a:t>
            </a:r>
            <a:endParaRPr lang="ru-RU" sz="800" dirty="0" err="1">
              <a:solidFill>
                <a:srgbClr val="FFFFFF"/>
              </a:solidFill>
            </a:endParaRPr>
          </a:p>
        </p:txBody>
      </p:sp>
      <p:sp>
        <p:nvSpPr>
          <p:cNvPr id="313" name="Oval 312"/>
          <p:cNvSpPr/>
          <p:nvPr/>
        </p:nvSpPr>
        <p:spPr>
          <a:xfrm>
            <a:off x="5894451" y="4044174"/>
            <a:ext cx="157942" cy="151466"/>
          </a:xfrm>
          <a:prstGeom prst="ellipse">
            <a:avLst/>
          </a:prstGeom>
          <a:solidFill>
            <a:srgbClr val="6E6F73"/>
          </a:solidFill>
          <a:ln w="9525" cap="rnd" cmpd="sng" algn="ctr">
            <a:solidFill>
              <a:srgbClr val="6E6F7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en-US" sz="800">
                <a:solidFill>
                  <a:srgbClr val="FFFFFF"/>
                </a:solidFill>
              </a:rPr>
              <a:t>19</a:t>
            </a:r>
            <a:endParaRPr lang="ru-RU" sz="800" dirty="0" err="1">
              <a:solidFill>
                <a:srgbClr val="FFFFFF"/>
              </a:solidFill>
            </a:endParaRPr>
          </a:p>
        </p:txBody>
      </p:sp>
      <p:sp>
        <p:nvSpPr>
          <p:cNvPr id="314" name="Oval 313"/>
          <p:cNvSpPr/>
          <p:nvPr/>
        </p:nvSpPr>
        <p:spPr>
          <a:xfrm>
            <a:off x="5894451" y="4306662"/>
            <a:ext cx="157942" cy="151466"/>
          </a:xfrm>
          <a:prstGeom prst="ellipse">
            <a:avLst/>
          </a:prstGeom>
          <a:solidFill>
            <a:srgbClr val="6E6F73"/>
          </a:solidFill>
          <a:ln w="9525" cap="rnd" cmpd="sng" algn="ctr">
            <a:solidFill>
              <a:srgbClr val="6E6F73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34290" rIns="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  <a:spcAft>
                <a:spcPts val="750"/>
              </a:spcAft>
            </a:pPr>
            <a:r>
              <a:rPr lang="en-US" sz="800">
                <a:solidFill>
                  <a:srgbClr val="FFFFFF"/>
                </a:solidFill>
              </a:rPr>
              <a:t>20</a:t>
            </a:r>
            <a:endParaRPr lang="ru-RU" sz="800" dirty="0" err="1">
              <a:solidFill>
                <a:srgbClr val="FFFFFF"/>
              </a:solidFill>
            </a:endParaRPr>
          </a:p>
        </p:txBody>
      </p:sp>
      <p:sp>
        <p:nvSpPr>
          <p:cNvPr id="191" name="Rectangle 190"/>
          <p:cNvSpPr/>
          <p:nvPr/>
        </p:nvSpPr>
        <p:spPr>
          <a:xfrm>
            <a:off x="6212398" y="1107204"/>
            <a:ext cx="2109707" cy="460856"/>
          </a:xfrm>
          <a:prstGeom prst="rect">
            <a:avLst/>
          </a:prstGeom>
          <a:noFill/>
          <a:ln w="9525" cap="rnd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  <a:ext uri="{91240B29-F687-4F45-9708-019B960494DF}">
              <a14:hiddenLine xmlns:a14="http://schemas.microsoft.com/office/drawing/2010/main" w="9525" cap="rnd" cmpd="sng" algn="ctr">
                <a:solidFill>
                  <a:srgbClr val="29BA74"/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90000"/>
              </a:lnSpc>
              <a:spcAft>
                <a:spcPts val="750"/>
              </a:spcAft>
            </a:pPr>
            <a:r>
              <a:rPr lang="ru-RU" sz="800" dirty="0" smtClean="0">
                <a:solidFill>
                  <a:srgbClr val="575757"/>
                </a:solidFill>
              </a:rPr>
              <a:t>Другие блоки в </a:t>
            </a:r>
            <a:r>
              <a:rPr lang="ru-RU" sz="800" dirty="0">
                <a:solidFill>
                  <a:srgbClr val="575757"/>
                </a:solidFill>
              </a:rPr>
              <a:t>первую волну </a:t>
            </a:r>
            <a:r>
              <a:rPr lang="ru-RU" sz="800" dirty="0" smtClean="0">
                <a:solidFill>
                  <a:srgbClr val="575757"/>
                </a:solidFill>
              </a:rPr>
              <a:t>изменений могут быть включены </a:t>
            </a:r>
            <a:r>
              <a:rPr lang="ru-RU" sz="800" dirty="0">
                <a:solidFill>
                  <a:srgbClr val="575757"/>
                </a:solidFill>
              </a:rPr>
              <a:t>только на уровне принципов</a:t>
            </a:r>
          </a:p>
        </p:txBody>
      </p:sp>
      <p:grpSp>
        <p:nvGrpSpPr>
          <p:cNvPr id="223" name="Group 222"/>
          <p:cNvGrpSpPr/>
          <p:nvPr/>
        </p:nvGrpSpPr>
        <p:grpSpPr>
          <a:xfrm>
            <a:off x="6111194" y="1314531"/>
            <a:ext cx="135267" cy="135309"/>
            <a:chOff x="5961063" y="3294063"/>
            <a:chExt cx="269875" cy="269875"/>
          </a:xfrm>
        </p:grpSpPr>
        <p:sp>
          <p:nvSpPr>
            <p:cNvPr id="224" name="Oval 40"/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E71C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25" name="Freeform 41"/>
            <p:cNvSpPr>
              <a:spLocks noEditPoints="1"/>
            </p:cNvSpPr>
            <p:nvPr/>
          </p:nvSpPr>
          <p:spPr bwMode="auto">
            <a:xfrm>
              <a:off x="6080125" y="3355975"/>
              <a:ext cx="30162" cy="147637"/>
            </a:xfrm>
            <a:custGeom>
              <a:avLst/>
              <a:gdLst>
                <a:gd name="T0" fmla="*/ 50 w 137"/>
                <a:gd name="T1" fmla="*/ 506 h 689"/>
                <a:gd name="T2" fmla="*/ 15 w 137"/>
                <a:gd name="T3" fmla="*/ 187 h 689"/>
                <a:gd name="T4" fmla="*/ 15 w 137"/>
                <a:gd name="T5" fmla="*/ 0 h 689"/>
                <a:gd name="T6" fmla="*/ 118 w 137"/>
                <a:gd name="T7" fmla="*/ 0 h 689"/>
                <a:gd name="T8" fmla="*/ 118 w 137"/>
                <a:gd name="T9" fmla="*/ 187 h 689"/>
                <a:gd name="T10" fmla="*/ 82 w 137"/>
                <a:gd name="T11" fmla="*/ 506 h 689"/>
                <a:gd name="T12" fmla="*/ 50 w 137"/>
                <a:gd name="T13" fmla="*/ 506 h 689"/>
                <a:gd name="T14" fmla="*/ 69 w 137"/>
                <a:gd name="T15" fmla="*/ 552 h 689"/>
                <a:gd name="T16" fmla="*/ 21 w 137"/>
                <a:gd name="T17" fmla="*/ 572 h 689"/>
                <a:gd name="T18" fmla="*/ 0 w 137"/>
                <a:gd name="T19" fmla="*/ 620 h 689"/>
                <a:gd name="T20" fmla="*/ 21 w 137"/>
                <a:gd name="T21" fmla="*/ 669 h 689"/>
                <a:gd name="T22" fmla="*/ 69 w 137"/>
                <a:gd name="T23" fmla="*/ 689 h 689"/>
                <a:gd name="T24" fmla="*/ 117 w 137"/>
                <a:gd name="T25" fmla="*/ 669 h 689"/>
                <a:gd name="T26" fmla="*/ 137 w 137"/>
                <a:gd name="T27" fmla="*/ 620 h 689"/>
                <a:gd name="T28" fmla="*/ 117 w 137"/>
                <a:gd name="T29" fmla="*/ 572 h 689"/>
                <a:gd name="T30" fmla="*/ 69 w 137"/>
                <a:gd name="T31" fmla="*/ 552 h 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7" h="689">
                  <a:moveTo>
                    <a:pt x="50" y="506"/>
                  </a:moveTo>
                  <a:cubicBezTo>
                    <a:pt x="26" y="353"/>
                    <a:pt x="15" y="247"/>
                    <a:pt x="15" y="187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187"/>
                    <a:pt x="118" y="187"/>
                    <a:pt x="118" y="187"/>
                  </a:cubicBezTo>
                  <a:cubicBezTo>
                    <a:pt x="118" y="245"/>
                    <a:pt x="106" y="351"/>
                    <a:pt x="82" y="506"/>
                  </a:cubicBezTo>
                  <a:lnTo>
                    <a:pt x="50" y="506"/>
                  </a:lnTo>
                  <a:close/>
                  <a:moveTo>
                    <a:pt x="69" y="552"/>
                  </a:moveTo>
                  <a:cubicBezTo>
                    <a:pt x="50" y="552"/>
                    <a:pt x="34" y="558"/>
                    <a:pt x="21" y="572"/>
                  </a:cubicBezTo>
                  <a:cubicBezTo>
                    <a:pt x="7" y="585"/>
                    <a:pt x="0" y="601"/>
                    <a:pt x="0" y="620"/>
                  </a:cubicBezTo>
                  <a:cubicBezTo>
                    <a:pt x="0" y="639"/>
                    <a:pt x="7" y="655"/>
                    <a:pt x="21" y="669"/>
                  </a:cubicBezTo>
                  <a:cubicBezTo>
                    <a:pt x="34" y="682"/>
                    <a:pt x="50" y="689"/>
                    <a:pt x="69" y="689"/>
                  </a:cubicBezTo>
                  <a:cubicBezTo>
                    <a:pt x="88" y="689"/>
                    <a:pt x="104" y="682"/>
                    <a:pt x="117" y="669"/>
                  </a:cubicBezTo>
                  <a:cubicBezTo>
                    <a:pt x="131" y="655"/>
                    <a:pt x="137" y="639"/>
                    <a:pt x="137" y="620"/>
                  </a:cubicBezTo>
                  <a:cubicBezTo>
                    <a:pt x="137" y="601"/>
                    <a:pt x="131" y="585"/>
                    <a:pt x="117" y="572"/>
                  </a:cubicBezTo>
                  <a:cubicBezTo>
                    <a:pt x="104" y="558"/>
                    <a:pt x="88" y="552"/>
                    <a:pt x="69" y="55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grpSp>
        <p:nvGrpSpPr>
          <p:cNvPr id="226" name="Group 225"/>
          <p:cNvGrpSpPr/>
          <p:nvPr/>
        </p:nvGrpSpPr>
        <p:grpSpPr>
          <a:xfrm>
            <a:off x="5570306" y="2075454"/>
            <a:ext cx="177464" cy="177519"/>
            <a:chOff x="5961063" y="3294063"/>
            <a:chExt cx="269875" cy="269875"/>
          </a:xfrm>
        </p:grpSpPr>
        <p:sp>
          <p:nvSpPr>
            <p:cNvPr id="227" name="Oval 40"/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E71C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28" name="Freeform 41"/>
            <p:cNvSpPr>
              <a:spLocks noEditPoints="1"/>
            </p:cNvSpPr>
            <p:nvPr/>
          </p:nvSpPr>
          <p:spPr bwMode="auto">
            <a:xfrm>
              <a:off x="6080125" y="3355975"/>
              <a:ext cx="30162" cy="147637"/>
            </a:xfrm>
            <a:custGeom>
              <a:avLst/>
              <a:gdLst>
                <a:gd name="T0" fmla="*/ 50 w 137"/>
                <a:gd name="T1" fmla="*/ 506 h 689"/>
                <a:gd name="T2" fmla="*/ 15 w 137"/>
                <a:gd name="T3" fmla="*/ 187 h 689"/>
                <a:gd name="T4" fmla="*/ 15 w 137"/>
                <a:gd name="T5" fmla="*/ 0 h 689"/>
                <a:gd name="T6" fmla="*/ 118 w 137"/>
                <a:gd name="T7" fmla="*/ 0 h 689"/>
                <a:gd name="T8" fmla="*/ 118 w 137"/>
                <a:gd name="T9" fmla="*/ 187 h 689"/>
                <a:gd name="T10" fmla="*/ 82 w 137"/>
                <a:gd name="T11" fmla="*/ 506 h 689"/>
                <a:gd name="T12" fmla="*/ 50 w 137"/>
                <a:gd name="T13" fmla="*/ 506 h 689"/>
                <a:gd name="T14" fmla="*/ 69 w 137"/>
                <a:gd name="T15" fmla="*/ 552 h 689"/>
                <a:gd name="T16" fmla="*/ 21 w 137"/>
                <a:gd name="T17" fmla="*/ 572 h 689"/>
                <a:gd name="T18" fmla="*/ 0 w 137"/>
                <a:gd name="T19" fmla="*/ 620 h 689"/>
                <a:gd name="T20" fmla="*/ 21 w 137"/>
                <a:gd name="T21" fmla="*/ 669 h 689"/>
                <a:gd name="T22" fmla="*/ 69 w 137"/>
                <a:gd name="T23" fmla="*/ 689 h 689"/>
                <a:gd name="T24" fmla="*/ 117 w 137"/>
                <a:gd name="T25" fmla="*/ 669 h 689"/>
                <a:gd name="T26" fmla="*/ 137 w 137"/>
                <a:gd name="T27" fmla="*/ 620 h 689"/>
                <a:gd name="T28" fmla="*/ 117 w 137"/>
                <a:gd name="T29" fmla="*/ 572 h 689"/>
                <a:gd name="T30" fmla="*/ 69 w 137"/>
                <a:gd name="T31" fmla="*/ 552 h 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7" h="689">
                  <a:moveTo>
                    <a:pt x="50" y="506"/>
                  </a:moveTo>
                  <a:cubicBezTo>
                    <a:pt x="26" y="353"/>
                    <a:pt x="15" y="247"/>
                    <a:pt x="15" y="187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187"/>
                    <a:pt x="118" y="187"/>
                    <a:pt x="118" y="187"/>
                  </a:cubicBezTo>
                  <a:cubicBezTo>
                    <a:pt x="118" y="245"/>
                    <a:pt x="106" y="351"/>
                    <a:pt x="82" y="506"/>
                  </a:cubicBezTo>
                  <a:lnTo>
                    <a:pt x="50" y="506"/>
                  </a:lnTo>
                  <a:close/>
                  <a:moveTo>
                    <a:pt x="69" y="552"/>
                  </a:moveTo>
                  <a:cubicBezTo>
                    <a:pt x="50" y="552"/>
                    <a:pt x="34" y="558"/>
                    <a:pt x="21" y="572"/>
                  </a:cubicBezTo>
                  <a:cubicBezTo>
                    <a:pt x="7" y="585"/>
                    <a:pt x="0" y="601"/>
                    <a:pt x="0" y="620"/>
                  </a:cubicBezTo>
                  <a:cubicBezTo>
                    <a:pt x="0" y="639"/>
                    <a:pt x="7" y="655"/>
                    <a:pt x="21" y="669"/>
                  </a:cubicBezTo>
                  <a:cubicBezTo>
                    <a:pt x="34" y="682"/>
                    <a:pt x="50" y="689"/>
                    <a:pt x="69" y="689"/>
                  </a:cubicBezTo>
                  <a:cubicBezTo>
                    <a:pt x="88" y="689"/>
                    <a:pt x="104" y="682"/>
                    <a:pt x="117" y="669"/>
                  </a:cubicBezTo>
                  <a:cubicBezTo>
                    <a:pt x="131" y="655"/>
                    <a:pt x="137" y="639"/>
                    <a:pt x="137" y="620"/>
                  </a:cubicBezTo>
                  <a:cubicBezTo>
                    <a:pt x="137" y="601"/>
                    <a:pt x="131" y="585"/>
                    <a:pt x="117" y="572"/>
                  </a:cubicBezTo>
                  <a:cubicBezTo>
                    <a:pt x="104" y="558"/>
                    <a:pt x="88" y="552"/>
                    <a:pt x="69" y="55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grpSp>
        <p:nvGrpSpPr>
          <p:cNvPr id="229" name="Group 228"/>
          <p:cNvGrpSpPr/>
          <p:nvPr/>
        </p:nvGrpSpPr>
        <p:grpSpPr>
          <a:xfrm>
            <a:off x="5570306" y="4036290"/>
            <a:ext cx="177464" cy="177519"/>
            <a:chOff x="5961063" y="3294063"/>
            <a:chExt cx="269875" cy="269875"/>
          </a:xfrm>
        </p:grpSpPr>
        <p:sp>
          <p:nvSpPr>
            <p:cNvPr id="230" name="Oval 40"/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E71C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31" name="Freeform 41"/>
            <p:cNvSpPr>
              <a:spLocks noEditPoints="1"/>
            </p:cNvSpPr>
            <p:nvPr/>
          </p:nvSpPr>
          <p:spPr bwMode="auto">
            <a:xfrm>
              <a:off x="6080125" y="3355975"/>
              <a:ext cx="30162" cy="147637"/>
            </a:xfrm>
            <a:custGeom>
              <a:avLst/>
              <a:gdLst>
                <a:gd name="T0" fmla="*/ 50 w 137"/>
                <a:gd name="T1" fmla="*/ 506 h 689"/>
                <a:gd name="T2" fmla="*/ 15 w 137"/>
                <a:gd name="T3" fmla="*/ 187 h 689"/>
                <a:gd name="T4" fmla="*/ 15 w 137"/>
                <a:gd name="T5" fmla="*/ 0 h 689"/>
                <a:gd name="T6" fmla="*/ 118 w 137"/>
                <a:gd name="T7" fmla="*/ 0 h 689"/>
                <a:gd name="T8" fmla="*/ 118 w 137"/>
                <a:gd name="T9" fmla="*/ 187 h 689"/>
                <a:gd name="T10" fmla="*/ 82 w 137"/>
                <a:gd name="T11" fmla="*/ 506 h 689"/>
                <a:gd name="T12" fmla="*/ 50 w 137"/>
                <a:gd name="T13" fmla="*/ 506 h 689"/>
                <a:gd name="T14" fmla="*/ 69 w 137"/>
                <a:gd name="T15" fmla="*/ 552 h 689"/>
                <a:gd name="T16" fmla="*/ 21 w 137"/>
                <a:gd name="T17" fmla="*/ 572 h 689"/>
                <a:gd name="T18" fmla="*/ 0 w 137"/>
                <a:gd name="T19" fmla="*/ 620 h 689"/>
                <a:gd name="T20" fmla="*/ 21 w 137"/>
                <a:gd name="T21" fmla="*/ 669 h 689"/>
                <a:gd name="T22" fmla="*/ 69 w 137"/>
                <a:gd name="T23" fmla="*/ 689 h 689"/>
                <a:gd name="T24" fmla="*/ 117 w 137"/>
                <a:gd name="T25" fmla="*/ 669 h 689"/>
                <a:gd name="T26" fmla="*/ 137 w 137"/>
                <a:gd name="T27" fmla="*/ 620 h 689"/>
                <a:gd name="T28" fmla="*/ 117 w 137"/>
                <a:gd name="T29" fmla="*/ 572 h 689"/>
                <a:gd name="T30" fmla="*/ 69 w 137"/>
                <a:gd name="T31" fmla="*/ 552 h 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7" h="689">
                  <a:moveTo>
                    <a:pt x="50" y="506"/>
                  </a:moveTo>
                  <a:cubicBezTo>
                    <a:pt x="26" y="353"/>
                    <a:pt x="15" y="247"/>
                    <a:pt x="15" y="187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187"/>
                    <a:pt x="118" y="187"/>
                    <a:pt x="118" y="187"/>
                  </a:cubicBezTo>
                  <a:cubicBezTo>
                    <a:pt x="118" y="245"/>
                    <a:pt x="106" y="351"/>
                    <a:pt x="82" y="506"/>
                  </a:cubicBezTo>
                  <a:lnTo>
                    <a:pt x="50" y="506"/>
                  </a:lnTo>
                  <a:close/>
                  <a:moveTo>
                    <a:pt x="69" y="552"/>
                  </a:moveTo>
                  <a:cubicBezTo>
                    <a:pt x="50" y="552"/>
                    <a:pt x="34" y="558"/>
                    <a:pt x="21" y="572"/>
                  </a:cubicBezTo>
                  <a:cubicBezTo>
                    <a:pt x="7" y="585"/>
                    <a:pt x="0" y="601"/>
                    <a:pt x="0" y="620"/>
                  </a:cubicBezTo>
                  <a:cubicBezTo>
                    <a:pt x="0" y="639"/>
                    <a:pt x="7" y="655"/>
                    <a:pt x="21" y="669"/>
                  </a:cubicBezTo>
                  <a:cubicBezTo>
                    <a:pt x="34" y="682"/>
                    <a:pt x="50" y="689"/>
                    <a:pt x="69" y="689"/>
                  </a:cubicBezTo>
                  <a:cubicBezTo>
                    <a:pt x="88" y="689"/>
                    <a:pt x="104" y="682"/>
                    <a:pt x="117" y="669"/>
                  </a:cubicBezTo>
                  <a:cubicBezTo>
                    <a:pt x="131" y="655"/>
                    <a:pt x="137" y="639"/>
                    <a:pt x="137" y="620"/>
                  </a:cubicBezTo>
                  <a:cubicBezTo>
                    <a:pt x="137" y="601"/>
                    <a:pt x="131" y="585"/>
                    <a:pt x="117" y="572"/>
                  </a:cubicBezTo>
                  <a:cubicBezTo>
                    <a:pt x="104" y="558"/>
                    <a:pt x="88" y="552"/>
                    <a:pt x="69" y="55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grpSp>
        <p:nvGrpSpPr>
          <p:cNvPr id="232" name="Group 231"/>
          <p:cNvGrpSpPr/>
          <p:nvPr/>
        </p:nvGrpSpPr>
        <p:grpSpPr>
          <a:xfrm>
            <a:off x="5570306" y="4293635"/>
            <a:ext cx="177464" cy="177519"/>
            <a:chOff x="5961063" y="3294063"/>
            <a:chExt cx="269875" cy="269875"/>
          </a:xfrm>
        </p:grpSpPr>
        <p:sp>
          <p:nvSpPr>
            <p:cNvPr id="233" name="Oval 40"/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E71C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34" name="Freeform 41"/>
            <p:cNvSpPr>
              <a:spLocks noEditPoints="1"/>
            </p:cNvSpPr>
            <p:nvPr/>
          </p:nvSpPr>
          <p:spPr bwMode="auto">
            <a:xfrm>
              <a:off x="6080125" y="3355975"/>
              <a:ext cx="30162" cy="147637"/>
            </a:xfrm>
            <a:custGeom>
              <a:avLst/>
              <a:gdLst>
                <a:gd name="T0" fmla="*/ 50 w 137"/>
                <a:gd name="T1" fmla="*/ 506 h 689"/>
                <a:gd name="T2" fmla="*/ 15 w 137"/>
                <a:gd name="T3" fmla="*/ 187 h 689"/>
                <a:gd name="T4" fmla="*/ 15 w 137"/>
                <a:gd name="T5" fmla="*/ 0 h 689"/>
                <a:gd name="T6" fmla="*/ 118 w 137"/>
                <a:gd name="T7" fmla="*/ 0 h 689"/>
                <a:gd name="T8" fmla="*/ 118 w 137"/>
                <a:gd name="T9" fmla="*/ 187 h 689"/>
                <a:gd name="T10" fmla="*/ 82 w 137"/>
                <a:gd name="T11" fmla="*/ 506 h 689"/>
                <a:gd name="T12" fmla="*/ 50 w 137"/>
                <a:gd name="T13" fmla="*/ 506 h 689"/>
                <a:gd name="T14" fmla="*/ 69 w 137"/>
                <a:gd name="T15" fmla="*/ 552 h 689"/>
                <a:gd name="T16" fmla="*/ 21 w 137"/>
                <a:gd name="T17" fmla="*/ 572 h 689"/>
                <a:gd name="T18" fmla="*/ 0 w 137"/>
                <a:gd name="T19" fmla="*/ 620 h 689"/>
                <a:gd name="T20" fmla="*/ 21 w 137"/>
                <a:gd name="T21" fmla="*/ 669 h 689"/>
                <a:gd name="T22" fmla="*/ 69 w 137"/>
                <a:gd name="T23" fmla="*/ 689 h 689"/>
                <a:gd name="T24" fmla="*/ 117 w 137"/>
                <a:gd name="T25" fmla="*/ 669 h 689"/>
                <a:gd name="T26" fmla="*/ 137 w 137"/>
                <a:gd name="T27" fmla="*/ 620 h 689"/>
                <a:gd name="T28" fmla="*/ 117 w 137"/>
                <a:gd name="T29" fmla="*/ 572 h 689"/>
                <a:gd name="T30" fmla="*/ 69 w 137"/>
                <a:gd name="T31" fmla="*/ 552 h 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7" h="689">
                  <a:moveTo>
                    <a:pt x="50" y="506"/>
                  </a:moveTo>
                  <a:cubicBezTo>
                    <a:pt x="26" y="353"/>
                    <a:pt x="15" y="247"/>
                    <a:pt x="15" y="187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187"/>
                    <a:pt x="118" y="187"/>
                    <a:pt x="118" y="187"/>
                  </a:cubicBezTo>
                  <a:cubicBezTo>
                    <a:pt x="118" y="245"/>
                    <a:pt x="106" y="351"/>
                    <a:pt x="82" y="506"/>
                  </a:cubicBezTo>
                  <a:lnTo>
                    <a:pt x="50" y="506"/>
                  </a:lnTo>
                  <a:close/>
                  <a:moveTo>
                    <a:pt x="69" y="552"/>
                  </a:moveTo>
                  <a:cubicBezTo>
                    <a:pt x="50" y="552"/>
                    <a:pt x="34" y="558"/>
                    <a:pt x="21" y="572"/>
                  </a:cubicBezTo>
                  <a:cubicBezTo>
                    <a:pt x="7" y="585"/>
                    <a:pt x="0" y="601"/>
                    <a:pt x="0" y="620"/>
                  </a:cubicBezTo>
                  <a:cubicBezTo>
                    <a:pt x="0" y="639"/>
                    <a:pt x="7" y="655"/>
                    <a:pt x="21" y="669"/>
                  </a:cubicBezTo>
                  <a:cubicBezTo>
                    <a:pt x="34" y="682"/>
                    <a:pt x="50" y="689"/>
                    <a:pt x="69" y="689"/>
                  </a:cubicBezTo>
                  <a:cubicBezTo>
                    <a:pt x="88" y="689"/>
                    <a:pt x="104" y="682"/>
                    <a:pt x="117" y="669"/>
                  </a:cubicBezTo>
                  <a:cubicBezTo>
                    <a:pt x="131" y="655"/>
                    <a:pt x="137" y="639"/>
                    <a:pt x="137" y="620"/>
                  </a:cubicBezTo>
                  <a:cubicBezTo>
                    <a:pt x="137" y="601"/>
                    <a:pt x="131" y="585"/>
                    <a:pt x="117" y="572"/>
                  </a:cubicBezTo>
                  <a:cubicBezTo>
                    <a:pt x="104" y="558"/>
                    <a:pt x="88" y="552"/>
                    <a:pt x="69" y="55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grpSp>
        <p:nvGrpSpPr>
          <p:cNvPr id="235" name="Group 234"/>
          <p:cNvGrpSpPr/>
          <p:nvPr/>
        </p:nvGrpSpPr>
        <p:grpSpPr>
          <a:xfrm>
            <a:off x="8233372" y="4036290"/>
            <a:ext cx="177464" cy="177519"/>
            <a:chOff x="5961063" y="3294063"/>
            <a:chExt cx="269875" cy="269875"/>
          </a:xfrm>
        </p:grpSpPr>
        <p:sp>
          <p:nvSpPr>
            <p:cNvPr id="236" name="Oval 40"/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E71C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37" name="Freeform 41"/>
            <p:cNvSpPr>
              <a:spLocks noEditPoints="1"/>
            </p:cNvSpPr>
            <p:nvPr/>
          </p:nvSpPr>
          <p:spPr bwMode="auto">
            <a:xfrm>
              <a:off x="6080125" y="3355975"/>
              <a:ext cx="30162" cy="147637"/>
            </a:xfrm>
            <a:custGeom>
              <a:avLst/>
              <a:gdLst>
                <a:gd name="T0" fmla="*/ 50 w 137"/>
                <a:gd name="T1" fmla="*/ 506 h 689"/>
                <a:gd name="T2" fmla="*/ 15 w 137"/>
                <a:gd name="T3" fmla="*/ 187 h 689"/>
                <a:gd name="T4" fmla="*/ 15 w 137"/>
                <a:gd name="T5" fmla="*/ 0 h 689"/>
                <a:gd name="T6" fmla="*/ 118 w 137"/>
                <a:gd name="T7" fmla="*/ 0 h 689"/>
                <a:gd name="T8" fmla="*/ 118 w 137"/>
                <a:gd name="T9" fmla="*/ 187 h 689"/>
                <a:gd name="T10" fmla="*/ 82 w 137"/>
                <a:gd name="T11" fmla="*/ 506 h 689"/>
                <a:gd name="T12" fmla="*/ 50 w 137"/>
                <a:gd name="T13" fmla="*/ 506 h 689"/>
                <a:gd name="T14" fmla="*/ 69 w 137"/>
                <a:gd name="T15" fmla="*/ 552 h 689"/>
                <a:gd name="T16" fmla="*/ 21 w 137"/>
                <a:gd name="T17" fmla="*/ 572 h 689"/>
                <a:gd name="T18" fmla="*/ 0 w 137"/>
                <a:gd name="T19" fmla="*/ 620 h 689"/>
                <a:gd name="T20" fmla="*/ 21 w 137"/>
                <a:gd name="T21" fmla="*/ 669 h 689"/>
                <a:gd name="T22" fmla="*/ 69 w 137"/>
                <a:gd name="T23" fmla="*/ 689 h 689"/>
                <a:gd name="T24" fmla="*/ 117 w 137"/>
                <a:gd name="T25" fmla="*/ 669 h 689"/>
                <a:gd name="T26" fmla="*/ 137 w 137"/>
                <a:gd name="T27" fmla="*/ 620 h 689"/>
                <a:gd name="T28" fmla="*/ 117 w 137"/>
                <a:gd name="T29" fmla="*/ 572 h 689"/>
                <a:gd name="T30" fmla="*/ 69 w 137"/>
                <a:gd name="T31" fmla="*/ 552 h 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7" h="689">
                  <a:moveTo>
                    <a:pt x="50" y="506"/>
                  </a:moveTo>
                  <a:cubicBezTo>
                    <a:pt x="26" y="353"/>
                    <a:pt x="15" y="247"/>
                    <a:pt x="15" y="187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187"/>
                    <a:pt x="118" y="187"/>
                    <a:pt x="118" y="187"/>
                  </a:cubicBezTo>
                  <a:cubicBezTo>
                    <a:pt x="118" y="245"/>
                    <a:pt x="106" y="351"/>
                    <a:pt x="82" y="506"/>
                  </a:cubicBezTo>
                  <a:lnTo>
                    <a:pt x="50" y="506"/>
                  </a:lnTo>
                  <a:close/>
                  <a:moveTo>
                    <a:pt x="69" y="552"/>
                  </a:moveTo>
                  <a:cubicBezTo>
                    <a:pt x="50" y="552"/>
                    <a:pt x="34" y="558"/>
                    <a:pt x="21" y="572"/>
                  </a:cubicBezTo>
                  <a:cubicBezTo>
                    <a:pt x="7" y="585"/>
                    <a:pt x="0" y="601"/>
                    <a:pt x="0" y="620"/>
                  </a:cubicBezTo>
                  <a:cubicBezTo>
                    <a:pt x="0" y="639"/>
                    <a:pt x="7" y="655"/>
                    <a:pt x="21" y="669"/>
                  </a:cubicBezTo>
                  <a:cubicBezTo>
                    <a:pt x="34" y="682"/>
                    <a:pt x="50" y="689"/>
                    <a:pt x="69" y="689"/>
                  </a:cubicBezTo>
                  <a:cubicBezTo>
                    <a:pt x="88" y="689"/>
                    <a:pt x="104" y="682"/>
                    <a:pt x="117" y="669"/>
                  </a:cubicBezTo>
                  <a:cubicBezTo>
                    <a:pt x="131" y="655"/>
                    <a:pt x="137" y="639"/>
                    <a:pt x="137" y="620"/>
                  </a:cubicBezTo>
                  <a:cubicBezTo>
                    <a:pt x="137" y="601"/>
                    <a:pt x="131" y="585"/>
                    <a:pt x="117" y="572"/>
                  </a:cubicBezTo>
                  <a:cubicBezTo>
                    <a:pt x="104" y="558"/>
                    <a:pt x="88" y="552"/>
                    <a:pt x="69" y="55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grpSp>
        <p:nvGrpSpPr>
          <p:cNvPr id="238" name="Group 237"/>
          <p:cNvGrpSpPr/>
          <p:nvPr/>
        </p:nvGrpSpPr>
        <p:grpSpPr>
          <a:xfrm>
            <a:off x="8233372" y="4293635"/>
            <a:ext cx="177464" cy="177519"/>
            <a:chOff x="5961063" y="3294063"/>
            <a:chExt cx="269875" cy="269875"/>
          </a:xfrm>
        </p:grpSpPr>
        <p:sp>
          <p:nvSpPr>
            <p:cNvPr id="239" name="Oval 40"/>
            <p:cNvSpPr>
              <a:spLocks noChangeArrowheads="1"/>
            </p:cNvSpPr>
            <p:nvPr/>
          </p:nvSpPr>
          <p:spPr bwMode="auto">
            <a:xfrm>
              <a:off x="5961063" y="3294063"/>
              <a:ext cx="269875" cy="269875"/>
            </a:xfrm>
            <a:prstGeom prst="ellipse">
              <a:avLst/>
            </a:prstGeom>
            <a:solidFill>
              <a:srgbClr val="E71C5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40" name="Freeform 41"/>
            <p:cNvSpPr>
              <a:spLocks noEditPoints="1"/>
            </p:cNvSpPr>
            <p:nvPr/>
          </p:nvSpPr>
          <p:spPr bwMode="auto">
            <a:xfrm>
              <a:off x="6080125" y="3355975"/>
              <a:ext cx="30162" cy="147637"/>
            </a:xfrm>
            <a:custGeom>
              <a:avLst/>
              <a:gdLst>
                <a:gd name="T0" fmla="*/ 50 w 137"/>
                <a:gd name="T1" fmla="*/ 506 h 689"/>
                <a:gd name="T2" fmla="*/ 15 w 137"/>
                <a:gd name="T3" fmla="*/ 187 h 689"/>
                <a:gd name="T4" fmla="*/ 15 w 137"/>
                <a:gd name="T5" fmla="*/ 0 h 689"/>
                <a:gd name="T6" fmla="*/ 118 w 137"/>
                <a:gd name="T7" fmla="*/ 0 h 689"/>
                <a:gd name="T8" fmla="*/ 118 w 137"/>
                <a:gd name="T9" fmla="*/ 187 h 689"/>
                <a:gd name="T10" fmla="*/ 82 w 137"/>
                <a:gd name="T11" fmla="*/ 506 h 689"/>
                <a:gd name="T12" fmla="*/ 50 w 137"/>
                <a:gd name="T13" fmla="*/ 506 h 689"/>
                <a:gd name="T14" fmla="*/ 69 w 137"/>
                <a:gd name="T15" fmla="*/ 552 h 689"/>
                <a:gd name="T16" fmla="*/ 21 w 137"/>
                <a:gd name="T17" fmla="*/ 572 h 689"/>
                <a:gd name="T18" fmla="*/ 0 w 137"/>
                <a:gd name="T19" fmla="*/ 620 h 689"/>
                <a:gd name="T20" fmla="*/ 21 w 137"/>
                <a:gd name="T21" fmla="*/ 669 h 689"/>
                <a:gd name="T22" fmla="*/ 69 w 137"/>
                <a:gd name="T23" fmla="*/ 689 h 689"/>
                <a:gd name="T24" fmla="*/ 117 w 137"/>
                <a:gd name="T25" fmla="*/ 669 h 689"/>
                <a:gd name="T26" fmla="*/ 137 w 137"/>
                <a:gd name="T27" fmla="*/ 620 h 689"/>
                <a:gd name="T28" fmla="*/ 117 w 137"/>
                <a:gd name="T29" fmla="*/ 572 h 689"/>
                <a:gd name="T30" fmla="*/ 69 w 137"/>
                <a:gd name="T31" fmla="*/ 552 h 6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7" h="689">
                  <a:moveTo>
                    <a:pt x="50" y="506"/>
                  </a:moveTo>
                  <a:cubicBezTo>
                    <a:pt x="26" y="353"/>
                    <a:pt x="15" y="247"/>
                    <a:pt x="15" y="187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118" y="0"/>
                    <a:pt x="118" y="0"/>
                    <a:pt x="118" y="0"/>
                  </a:cubicBezTo>
                  <a:cubicBezTo>
                    <a:pt x="118" y="187"/>
                    <a:pt x="118" y="187"/>
                    <a:pt x="118" y="187"/>
                  </a:cubicBezTo>
                  <a:cubicBezTo>
                    <a:pt x="118" y="245"/>
                    <a:pt x="106" y="351"/>
                    <a:pt x="82" y="506"/>
                  </a:cubicBezTo>
                  <a:lnTo>
                    <a:pt x="50" y="506"/>
                  </a:lnTo>
                  <a:close/>
                  <a:moveTo>
                    <a:pt x="69" y="552"/>
                  </a:moveTo>
                  <a:cubicBezTo>
                    <a:pt x="50" y="552"/>
                    <a:pt x="34" y="558"/>
                    <a:pt x="21" y="572"/>
                  </a:cubicBezTo>
                  <a:cubicBezTo>
                    <a:pt x="7" y="585"/>
                    <a:pt x="0" y="601"/>
                    <a:pt x="0" y="620"/>
                  </a:cubicBezTo>
                  <a:cubicBezTo>
                    <a:pt x="0" y="639"/>
                    <a:pt x="7" y="655"/>
                    <a:pt x="21" y="669"/>
                  </a:cubicBezTo>
                  <a:cubicBezTo>
                    <a:pt x="34" y="682"/>
                    <a:pt x="50" y="689"/>
                    <a:pt x="69" y="689"/>
                  </a:cubicBezTo>
                  <a:cubicBezTo>
                    <a:pt x="88" y="689"/>
                    <a:pt x="104" y="682"/>
                    <a:pt x="117" y="669"/>
                  </a:cubicBezTo>
                  <a:cubicBezTo>
                    <a:pt x="131" y="655"/>
                    <a:pt x="137" y="639"/>
                    <a:pt x="137" y="620"/>
                  </a:cubicBezTo>
                  <a:cubicBezTo>
                    <a:pt x="137" y="601"/>
                    <a:pt x="131" y="585"/>
                    <a:pt x="117" y="572"/>
                  </a:cubicBezTo>
                  <a:cubicBezTo>
                    <a:pt x="104" y="558"/>
                    <a:pt x="88" y="552"/>
                    <a:pt x="69" y="55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</p:spTree>
    <p:extLst>
      <p:ext uri="{BB962C8B-B14F-4D97-AF65-F5344CB8AC3E}">
        <p14:creationId xmlns:p14="http://schemas.microsoft.com/office/powerpoint/2010/main" val="3906865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G_MODE" val="Presentation"/>
  <p:tag name="BCG_DESIGN" val="Title only"/>
  <p:tag name="EE4P_LAYOUT_ID" val="K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INTELLIGENT_ELEMENT" val="{Name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017_MegaFon">
  <a:themeElements>
    <a:clrScheme name="Megaphon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28B93C"/>
      </a:accent1>
      <a:accent2>
        <a:srgbClr val="731982"/>
      </a:accent2>
      <a:accent3>
        <a:srgbClr val="5BD9E5"/>
      </a:accent3>
      <a:accent4>
        <a:srgbClr val="444189"/>
      </a:accent4>
      <a:accent5>
        <a:srgbClr val="FFA717"/>
      </a:accent5>
      <a:accent6>
        <a:srgbClr val="EB5A40"/>
      </a:accent6>
      <a:hlink>
        <a:srgbClr val="0563C1"/>
      </a:hlink>
      <a:folHlink>
        <a:srgbClr val="954F72"/>
      </a:folHlink>
    </a:clrScheme>
    <a:fontScheme name="Benutzerdefiniert 5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t" anchorCtr="0"/>
      <a:lstStyle>
        <a:defPPr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sz="16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Präsentation2" id="{2BFBCF6B-0EED-EB43-B84A-27734529489E}" vid="{36441651-38F6-9340-9B5B-29CBB31C5392}"/>
    </a:ext>
  </a:extLst>
</a:theme>
</file>

<file path=ppt/theme/theme2.xml><?xml version="1.0" encoding="utf-8"?>
<a:theme xmlns:a="http://schemas.openxmlformats.org/drawingml/2006/main" name="Standard Theme">
  <a:themeElements>
    <a:clrScheme name="Megafon_May2016">
      <a:dk1>
        <a:srgbClr val="000000"/>
      </a:dk1>
      <a:lt1>
        <a:srgbClr val="FFFFFF"/>
      </a:lt1>
      <a:dk2>
        <a:srgbClr val="00985F"/>
      </a:dk2>
      <a:lt2>
        <a:srgbClr val="888A8C"/>
      </a:lt2>
      <a:accent1>
        <a:srgbClr val="DEDFE0"/>
      </a:accent1>
      <a:accent2>
        <a:srgbClr val="CBE8D9"/>
      </a:accent2>
      <a:accent3>
        <a:srgbClr val="C0C2C4"/>
      </a:accent3>
      <a:accent4>
        <a:srgbClr val="616365"/>
      </a:accent4>
      <a:accent5>
        <a:srgbClr val="CFC7E3"/>
      </a:accent5>
      <a:accent6>
        <a:srgbClr val="57068C"/>
      </a:accent6>
      <a:hlink>
        <a:srgbClr val="00B380"/>
      </a:hlink>
      <a:folHlink>
        <a:srgbClr val="9AD4B9"/>
      </a:folHlink>
    </a:clrScheme>
    <a:fontScheme name="Megafon_May2016">
      <a:majorFont>
        <a:latin typeface="PF DinDisplay Pro"/>
        <a:ea typeface=""/>
        <a:cs typeface=""/>
      </a:majorFont>
      <a:minorFont>
        <a:latin typeface="PF DinDisplay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bg2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blank.potx" id="{3CF228E7-B5F4-405F-9A29-4EB04238699D}" vid="{2BEF42F9-D14C-48A6-B027-D236E2C8B3A8}"/>
    </a:ext>
  </a:extLst>
</a:theme>
</file>

<file path=ppt/theme/theme3.xml><?xml version="1.0" encoding="utf-8"?>
<a:theme xmlns:a="http://schemas.openxmlformats.org/drawingml/2006/main" name="1_Standard Theme">
  <a:themeElements>
    <a:clrScheme name="Megafon_May2016">
      <a:dk1>
        <a:srgbClr val="000000"/>
      </a:dk1>
      <a:lt1>
        <a:srgbClr val="FFFFFF"/>
      </a:lt1>
      <a:dk2>
        <a:srgbClr val="00985F"/>
      </a:dk2>
      <a:lt2>
        <a:srgbClr val="888A8C"/>
      </a:lt2>
      <a:accent1>
        <a:srgbClr val="DEDFE0"/>
      </a:accent1>
      <a:accent2>
        <a:srgbClr val="CBE8D9"/>
      </a:accent2>
      <a:accent3>
        <a:srgbClr val="C0C2C4"/>
      </a:accent3>
      <a:accent4>
        <a:srgbClr val="616365"/>
      </a:accent4>
      <a:accent5>
        <a:srgbClr val="CFC7E3"/>
      </a:accent5>
      <a:accent6>
        <a:srgbClr val="57068C"/>
      </a:accent6>
      <a:hlink>
        <a:srgbClr val="00B380"/>
      </a:hlink>
      <a:folHlink>
        <a:srgbClr val="9AD4B9"/>
      </a:folHlink>
    </a:clrScheme>
    <a:fontScheme name="Megafon_May2016">
      <a:majorFont>
        <a:latin typeface="PF DinDisplay Pro"/>
        <a:ea typeface=""/>
        <a:cs typeface=""/>
      </a:majorFont>
      <a:minorFont>
        <a:latin typeface="PF DinDisplay Pr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bg2"/>
          </a:solidFill>
        </a:ln>
        <a:effectLst/>
      </a:spPr>
      <a:bodyPr tIns="90000" bIns="90000" rtlCol="0" anchor="ctr" anchorCtr="0"/>
      <a:lstStyle>
        <a:defPPr algn="ctr">
          <a:defRPr sz="14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tIns="90000" bIns="90000" rtlCol="0" anchor="t">
        <a:spAutoFit/>
      </a:bodyPr>
      <a:lstStyle>
        <a:defPPr algn="ctr">
          <a:defRPr sz="14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xmlns="" name="blank.potx" id="{2A1AF1BF-6A59-4876-974C-DCEE215F8538}" vid="{710ED28D-97B8-4470-913B-AFF3E393A8F2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U_Digital</Template>
  <TotalTime>1717</TotalTime>
  <Words>601</Words>
  <Application>Microsoft Office PowerPoint</Application>
  <PresentationFormat>Произвольный</PresentationFormat>
  <Paragraphs>124</Paragraphs>
  <Slides>5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5</vt:i4>
      </vt:variant>
    </vt:vector>
  </HeadingPairs>
  <TitlesOfParts>
    <vt:vector size="10" baseType="lpstr">
      <vt:lpstr>2017_MegaFon</vt:lpstr>
      <vt:lpstr>Standard Theme</vt:lpstr>
      <vt:lpstr>1_Standard Theme</vt:lpstr>
      <vt:lpstr>think-cell Folie</vt:lpstr>
      <vt:lpstr>think-cell Slide</vt:lpstr>
      <vt:lpstr>Cистематизация законодательства о связи  и информации</vt:lpstr>
      <vt:lpstr>Систематизация законодательства должна создать нормы отношений внутри инфокоммуникационной отрасли и повысить взаимное доверие участников  </vt:lpstr>
      <vt:lpstr>Пять принципов регулирования должны обеспечить реализацию задач систематизации</vt:lpstr>
      <vt:lpstr>В периметр возможного нового регулирования попадают только блоки тем, связанные с инфокоммуникационной отраслью</vt:lpstr>
      <vt:lpstr>Возможные темы для включения в новый закон, прочие будут детализованы в подзаконных актах</vt:lpstr>
    </vt:vector>
  </TitlesOfParts>
  <Company>ПАО "МегаФон"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R Итоги за 2017 год</dc:title>
  <dc:creator>Galina Ovchinnikova (HQ)</dc:creator>
  <cp:lastModifiedBy>отд. административного зак-ва 3</cp:lastModifiedBy>
  <cp:revision>182</cp:revision>
  <dcterms:created xsi:type="dcterms:W3CDTF">2018-01-16T11:54:45Z</dcterms:created>
  <dcterms:modified xsi:type="dcterms:W3CDTF">2019-04-30T12:11:07Z</dcterms:modified>
</cp:coreProperties>
</file>